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945" r:id="rId5"/>
  </p:sldMasterIdLst>
  <p:notesMasterIdLst>
    <p:notesMasterId r:id="rId24"/>
  </p:notesMasterIdLst>
  <p:handoutMasterIdLst>
    <p:handoutMasterId r:id="rId25"/>
  </p:handoutMasterIdLst>
  <p:sldIdLst>
    <p:sldId id="341" r:id="rId6"/>
    <p:sldId id="2147478774" r:id="rId7"/>
    <p:sldId id="2147478775" r:id="rId8"/>
    <p:sldId id="2147478776" r:id="rId9"/>
    <p:sldId id="2147478777" r:id="rId10"/>
    <p:sldId id="436" r:id="rId11"/>
    <p:sldId id="2147478778" r:id="rId12"/>
    <p:sldId id="486" r:id="rId13"/>
    <p:sldId id="2147478779" r:id="rId14"/>
    <p:sldId id="2147478781" r:id="rId15"/>
    <p:sldId id="2147478782" r:id="rId16"/>
    <p:sldId id="2147478783" r:id="rId17"/>
    <p:sldId id="2147478785" r:id="rId18"/>
    <p:sldId id="2147478784" r:id="rId19"/>
    <p:sldId id="2147478788" r:id="rId20"/>
    <p:sldId id="2147478789" r:id="rId21"/>
    <p:sldId id="2147478790" r:id="rId22"/>
    <p:sldId id="2147478801" r:id="rId23"/>
  </p:sldIdLst>
  <p:sldSz cx="12192000" cy="6858000"/>
  <p:notesSz cx="6797675" cy="9926638"/>
  <p:custDataLst>
    <p:tags r:id="rId26"/>
  </p:custDataLst>
  <p:defaultTextStyle>
    <a:defPPr>
      <a:defRPr lang="en-I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4AB35CB-0097-4787-90DF-67AAD7C7D13A}">
          <p14:sldIdLst>
            <p14:sldId id="341"/>
            <p14:sldId id="2147478774"/>
            <p14:sldId id="2147478775"/>
            <p14:sldId id="2147478776"/>
            <p14:sldId id="2147478777"/>
            <p14:sldId id="436"/>
            <p14:sldId id="2147478778"/>
            <p14:sldId id="486"/>
            <p14:sldId id="2147478779"/>
            <p14:sldId id="2147478781"/>
            <p14:sldId id="2147478782"/>
            <p14:sldId id="2147478783"/>
            <p14:sldId id="2147478785"/>
            <p14:sldId id="2147478784"/>
            <p14:sldId id="2147478788"/>
            <p14:sldId id="2147478789"/>
            <p14:sldId id="2147478790"/>
            <p14:sldId id="214747880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A4BD06-6FFB-733B-DA71-F01EDC7A97FC}" name="Martin, Andrew" initials="MA" userId="S::apmartin@deloitte.co.uk::16477196-9717-4a4c-8df6-643321d41a62" providerId="AD"/>
  <p188:author id="{1A4B9A08-0073-CC74-514C-02A6D61FAD97}" name="Bogrand, Jenine" initials="BJ" userId="S::jebogrand@deloitte.ie::b632d6bc-fc18-4f3c-b104-9fd42be0ec35" providerId="AD"/>
  <p188:author id="{95F5C909-76E0-D435-F6D0-7926D3A451FF}" name="Sreegiriraju, Nikhil" initials="SN" userId="S::nikhilsreegiriraju@deloitte.co.uk::4b1b53d9-277a-4e7c-a9c9-cfcbe67ee0e7" providerId="AD"/>
  <p188:author id="{A2AA3912-5865-F38F-E23A-1344266D3B6E}" name="Nieto, Marta" initials="NM" userId="S::marnieto@deloitte.ie::4c01dbf3-a67b-4e2b-a666-d2bb475f0e01" providerId="AD"/>
  <p188:author id="{43C4AE15-A4F9-80F5-7F07-BA745528667F}" name="Singh, Suryansh" initials="SS" userId="S::suryansingh@deloitte.ie::25ce81ad-c3e2-4ef3-bd85-183139de75d0" providerId="AD"/>
  <p188:author id="{00CACA1C-4F50-661C-7729-8A72A6532F00}" name="Starke, Robert" initials="SR" userId="S::rstarke@deloitte.ie::a6d2a3e1-21ac-403c-af52-71d538e8939e" providerId="AD"/>
  <p188:author id="{B02F5130-19C0-1B92-A25F-9BFEF3270A30}" name="Finucane, Camille" initials="FC" userId="S::camithomas@deloitte.ie::aa50ee0e-57d4-434f-bbb1-05a9c343095b" providerId="AD"/>
  <p188:author id="{73375B42-223E-B3E4-CEC5-930E91246DD3}" name="Anton, Robert" initials="AR" userId="S::roberanton@deloitte.ie::2cd1c519-e1d5-423c-a74c-df9a8ad84a9e" providerId="AD"/>
  <p188:author id="{1E283647-60FA-0620-185E-6564EAB29F72}" name="Healy, Graham" initials="HG" userId="S::grahealy@deloitte.ie::0c757cc2-17f4-40db-9dbe-5aabcd42adf0" providerId="AD"/>
  <p188:author id="{A5D16749-387E-8180-C620-3928CDEE7405}" name="Ciaran Duffy" initials="CD" userId="Ciaran Duffy" providerId="None"/>
  <p188:author id="{4BE4B364-3F3C-B50E-F279-5C6F19BFA5CC}" name="Mannion, Martin" initials="MM" userId="S::mmannion@deloitte.ie::e318080d-85c4-4188-8b41-c178b3ee9c95" providerId="AD"/>
  <p188:author id="{F5A80868-046A-A802-069C-45F136A6C6E8}" name="Delaney, Jack" initials="DJ" userId="S::jacdelaney@deloitte.ie::b00be96e-e953-4ca5-a33f-bf4276d6c540" providerId="AD"/>
  <p188:author id="{D2CFBB6C-12FB-15FB-24AE-9E1B79D28584}" name="Leiper, Jonathan Allan" initials="LJA" userId="S::jleiper@deloitte.co.uk::fa001c97-bdbc-4b8f-9050-d5303689391f" providerId="AD"/>
  <p188:author id="{8407DD6C-4AD6-404C-FCD6-6CD5EAB3EB8C}" name="Ravindran, Surya" initials="RS" userId="S::suravindran@deloitte.ie::33d11fbe-da1a-4e94-be54-028faa4031d1" providerId="AD"/>
  <p188:author id="{0B10DF6D-0B5B-FD0A-423E-E781A57F13EB}" name="Cassar, Michelle (CA - Toronto)" initials="CM(-T" userId="Cassar, Michelle (CA - Toronto)" providerId="None"/>
  <p188:author id="{C9817B88-4C78-9D51-202B-512929738B7B}" name="Hyland, Gavin" initials="HG" userId="S::gahyland@deloitte.ie::a420b6cd-5d5f-4515-833b-a1f3bbc2e587" providerId="AD"/>
  <p188:author id="{5C197E88-C485-B4A8-BEF5-0BA193285881}" name="Notley, Gary" initials="NG" userId="S::gnotley@deloitte.ie::6f13e014-b4a8-48c7-9b7d-2b35b8a64d73" providerId="AD"/>
  <p188:author id="{4E7ED089-A5A9-3ED3-5F68-30C811E13024}" name="Creighton, Nigel" initials="CN" userId="S::nicreighton@deloitte.ie::f15626b5-c6b6-43f5-8abc-cd4e4b36b9de" providerId="AD"/>
  <p188:author id="{8721D88D-7193-8407-57E2-B1E06AE5B36C}" name="Rane, Ameya" initials="RA" userId="S::amerane@deloitte.ie::14d8dce7-1c3b-4e6a-944c-65e4a93131de" providerId="AD"/>
  <p188:author id="{692AC99A-4260-D90E-8690-A52FD3252D7D}" name="Krishan, Dev" initials="KD" userId="S::dkrishan@deloitte.ie::deb61d99-a5c6-40d2-a1d2-2792067c4ca0" providerId="AD"/>
  <p188:author id="{3925EAB6-E18A-C771-F47C-2D90E033A8DC}" name="Marray, Pauric" initials="MP" userId="S::pmarray@deloitte.ie::6e608907-105d-4109-a5be-95b3cf13dda8" providerId="AD"/>
  <p188:author id="{E3533FCC-7686-C19D-6197-9F2CDEF2604B}" name="Tanwar, Vipin" initials="TV" userId="S::vtanwar@deloitte.ie::e086d6b6-c391-4c47-a90c-55e4e3c351dd" providerId="AD"/>
  <p188:author id="{0D5030D3-66E4-C81D-29FD-A43674043C72}" name="Tanwar, Ruchi" initials="TR" userId="S::rutanwar@deloitte.ie::453034b5-abed-4694-9d65-2140569e2d43" providerId="AD"/>
  <p188:author id="{5CA650D3-B4AB-4156-0281-AE2D8A2D4602}" name="Melody, Colin" initials="MC" userId="S::cmelody@deloitte.ie::653afa84-b6d0-4abb-b16a-b0f5daa483bb" providerId="AD"/>
  <p188:author id="{EE620FD5-BB58-2B61-781F-2CD7EF7156EC}" name="Bhanja, Jagrat Kumar" initials="BJK" userId="S::jbhanja@deloitte.com::d2d3439c-4e78-443f-ba1b-ab02331484a1" providerId="AD"/>
  <p188:author id="{41C601D8-4226-6DD4-AC78-3CE867A0BC4D}" name="Lewis, Roisin" initials="LR" userId="S::roilewis@deloitte.ie::51be327c-1ed4-40d9-9ec1-08658bf17447" providerId="AD"/>
  <p188:author id="{3108A3DC-0A32-2395-B857-ECBD75E1A3E5}" name="Shaw, Shradha" initials="SS" userId="S::shshaw@deloitte.ie::b5feab16-374d-4005-a02e-0dfa4af95824" providerId="AD"/>
  <p188:author id="{372E21E0-75BB-1F81-C962-9B10FA0C42F2}" name="Akcan, Ceren" initials="AC" userId="S::cakcan@deloitte.ie::cb8b2e2a-9ddd-4aa0-a4e5-e02135034f97" providerId="AD"/>
  <p188:author id="{83D85AE0-14B4-F0CF-3F26-6BE10683BCBB}" name="Saleh, Mohamed" initials="SM" userId="S::mohsaleh@deloitte.ie::58d0ce3d-b8a7-4fb2-8280-d3dbe49c2eb6" providerId="AD"/>
  <p188:author id="{A95B3CF8-FB90-AD79-8AE0-369B155F5BF9}" name="Duffield, Leon" initials="DL" userId="S::lduffield@deloitte.co.uk::883c995b-ee38-480d-8e74-26e9ec4c1229" providerId="AD"/>
  <p188:author id="{450633FB-2E62-8B9D-4319-9EDC6D219F9B}" name="Pieters, Marcel" initials="PM" userId="S::mpieters@deloitte.nl::823574b7-91ab-41df-b622-d923a5751b6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2169"/>
    <a:srgbClr val="00FFC5"/>
    <a:srgbClr val="00A4E1"/>
    <a:srgbClr val="65F9B0"/>
    <a:srgbClr val="D0D0CE"/>
    <a:srgbClr val="DDEFE8"/>
    <a:srgbClr val="00A3E0"/>
    <a:srgbClr val="5B6E9A"/>
    <a:srgbClr val="9DD4CF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300204-16E1-4115-A795-D033AC63AA46}" v="77" dt="2024-12-16T15:00:54.7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55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msawi, Nur Syazwani" userId="4251a67a-9d6d-42cb-9517-50bf21357cd7" providerId="ADAL" clId="{2A300204-16E1-4115-A795-D033AC63AA46}"/>
    <pc:docChg chg="undo custSel addSld delSld modSld sldOrd modSection">
      <pc:chgData name="Samsawi, Nur Syazwani" userId="4251a67a-9d6d-42cb-9517-50bf21357cd7" providerId="ADAL" clId="{2A300204-16E1-4115-A795-D033AC63AA46}" dt="2024-12-17T00:47:36.019" v="1153" actId="1038"/>
      <pc:docMkLst>
        <pc:docMk/>
      </pc:docMkLst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554107295" sldId="269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4255256458" sldId="270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205254839" sldId="271"/>
        </pc:sldMkLst>
      </pc:sldChg>
      <pc:sldChg chg="addSp delSp modSp mod">
        <pc:chgData name="Samsawi, Nur Syazwani" userId="4251a67a-9d6d-42cb-9517-50bf21357cd7" providerId="ADAL" clId="{2A300204-16E1-4115-A795-D033AC63AA46}" dt="2024-12-16T13:24:49.819" v="93" actId="20577"/>
        <pc:sldMkLst>
          <pc:docMk/>
          <pc:sldMk cId="861957290" sldId="341"/>
        </pc:sldMkLst>
        <pc:spChg chg="add del mod">
          <ac:chgData name="Samsawi, Nur Syazwani" userId="4251a67a-9d6d-42cb-9517-50bf21357cd7" providerId="ADAL" clId="{2A300204-16E1-4115-A795-D033AC63AA46}" dt="2024-12-16T13:22:35.837" v="2" actId="478"/>
          <ac:spMkLst>
            <pc:docMk/>
            <pc:sldMk cId="861957290" sldId="341"/>
            <ac:spMk id="2" creationId="{2D1344F3-C6B6-F972-A53B-62DABB17ECE1}"/>
          </ac:spMkLst>
        </pc:spChg>
        <pc:spChg chg="del">
          <ac:chgData name="Samsawi, Nur Syazwani" userId="4251a67a-9d6d-42cb-9517-50bf21357cd7" providerId="ADAL" clId="{2A300204-16E1-4115-A795-D033AC63AA46}" dt="2024-12-16T13:14:30.331" v="0" actId="478"/>
          <ac:spMkLst>
            <pc:docMk/>
            <pc:sldMk cId="861957290" sldId="341"/>
            <ac:spMk id="7" creationId="{206F0109-28B9-4D30-80C3-0B3909D51B85}"/>
          </ac:spMkLst>
        </pc:spChg>
        <pc:spChg chg="mod">
          <ac:chgData name="Samsawi, Nur Syazwani" userId="4251a67a-9d6d-42cb-9517-50bf21357cd7" providerId="ADAL" clId="{2A300204-16E1-4115-A795-D033AC63AA46}" dt="2024-12-16T13:24:26.400" v="48" actId="255"/>
          <ac:spMkLst>
            <pc:docMk/>
            <pc:sldMk cId="861957290" sldId="341"/>
            <ac:spMk id="13" creationId="{DE5B9CEA-5E73-4E22-8C75-E8D43059FFC7}"/>
          </ac:spMkLst>
        </pc:spChg>
        <pc:spChg chg="mod">
          <ac:chgData name="Samsawi, Nur Syazwani" userId="4251a67a-9d6d-42cb-9517-50bf21357cd7" providerId="ADAL" clId="{2A300204-16E1-4115-A795-D033AC63AA46}" dt="2024-12-16T13:24:49.819" v="93" actId="20577"/>
          <ac:spMkLst>
            <pc:docMk/>
            <pc:sldMk cId="861957290" sldId="341"/>
            <ac:spMk id="15" creationId="{E22672E0-7693-4B5C-8331-DE3495FB6BB0}"/>
          </ac:spMkLst>
        </pc:spChg>
        <pc:picChg chg="add mod ord modCrop">
          <ac:chgData name="Samsawi, Nur Syazwani" userId="4251a67a-9d6d-42cb-9517-50bf21357cd7" providerId="ADAL" clId="{2A300204-16E1-4115-A795-D033AC63AA46}" dt="2024-12-16T13:23:19.172" v="11" actId="1076"/>
          <ac:picMkLst>
            <pc:docMk/>
            <pc:sldMk cId="861957290" sldId="341"/>
            <ac:picMk id="3" creationId="{7A294933-1B82-0830-1989-26C03249F582}"/>
          </ac:picMkLst>
        </pc:picChg>
        <pc:picChg chg="del">
          <ac:chgData name="Samsawi, Nur Syazwani" userId="4251a67a-9d6d-42cb-9517-50bf21357cd7" providerId="ADAL" clId="{2A300204-16E1-4115-A795-D033AC63AA46}" dt="2024-12-16T13:22:32.381" v="1" actId="478"/>
          <ac:picMkLst>
            <pc:docMk/>
            <pc:sldMk cId="861957290" sldId="341"/>
            <ac:picMk id="10" creationId="{9D5C5EF4-9CCA-4665-825B-F674776CB05F}"/>
          </ac:picMkLst>
        </pc:picChg>
      </pc:sldChg>
      <pc:sldChg chg="del">
        <pc:chgData name="Samsawi, Nur Syazwani" userId="4251a67a-9d6d-42cb-9517-50bf21357cd7" providerId="ADAL" clId="{2A300204-16E1-4115-A795-D033AC63AA46}" dt="2024-12-16T13:25:19.605" v="98" actId="2696"/>
        <pc:sldMkLst>
          <pc:docMk/>
          <pc:sldMk cId="2086385603" sldId="342"/>
        </pc:sldMkLst>
      </pc:sldChg>
      <pc:sldChg chg="add del">
        <pc:chgData name="Samsawi, Nur Syazwani" userId="4251a67a-9d6d-42cb-9517-50bf21357cd7" providerId="ADAL" clId="{2A300204-16E1-4115-A795-D033AC63AA46}" dt="2024-12-16T14:56:36.104" v="1092" actId="47"/>
        <pc:sldMkLst>
          <pc:docMk/>
          <pc:sldMk cId="4231841769" sldId="347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718855235" sldId="351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418665187" sldId="372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887647588" sldId="373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587456036" sldId="374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654944373" sldId="375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391675115" sldId="376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53350407" sldId="377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792841793" sldId="378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657818877" sldId="379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703598829" sldId="380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241692144" sldId="389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062382472" sldId="392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394809977" sldId="394"/>
        </pc:sldMkLst>
      </pc:sldChg>
      <pc:sldChg chg="add del">
        <pc:chgData name="Samsawi, Nur Syazwani" userId="4251a67a-9d6d-42cb-9517-50bf21357cd7" providerId="ADAL" clId="{2A300204-16E1-4115-A795-D033AC63AA46}" dt="2024-12-16T14:56:10.136" v="1091"/>
        <pc:sldMkLst>
          <pc:docMk/>
          <pc:sldMk cId="1485223179" sldId="436"/>
        </pc:sldMkLst>
      </pc:sldChg>
      <pc:sldChg chg="del">
        <pc:chgData name="Samsawi, Nur Syazwani" userId="4251a67a-9d6d-42cb-9517-50bf21357cd7" providerId="ADAL" clId="{2A300204-16E1-4115-A795-D033AC63AA46}" dt="2024-12-16T13:25:09.874" v="95" actId="2696"/>
        <pc:sldMkLst>
          <pc:docMk/>
          <pc:sldMk cId="1103638315" sldId="437"/>
        </pc:sldMkLst>
      </pc:sldChg>
      <pc:sldChg chg="del">
        <pc:chgData name="Samsawi, Nur Syazwani" userId="4251a67a-9d6d-42cb-9517-50bf21357cd7" providerId="ADAL" clId="{2A300204-16E1-4115-A795-D033AC63AA46}" dt="2024-12-16T13:25:15.227" v="97" actId="2696"/>
        <pc:sldMkLst>
          <pc:docMk/>
          <pc:sldMk cId="1287521536" sldId="439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889210208" sldId="440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092620570" sldId="441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653565097" sldId="443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171625525" sldId="444"/>
        </pc:sldMkLst>
      </pc:sldChg>
      <pc:sldChg chg="del">
        <pc:chgData name="Samsawi, Nur Syazwani" userId="4251a67a-9d6d-42cb-9517-50bf21357cd7" providerId="ADAL" clId="{2A300204-16E1-4115-A795-D033AC63AA46}" dt="2024-12-16T13:25:12.893" v="96" actId="2696"/>
        <pc:sldMkLst>
          <pc:docMk/>
          <pc:sldMk cId="3293253968" sldId="445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508842044" sldId="447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992381038" sldId="463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599038841" sldId="466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619087312" sldId="467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752802327" sldId="468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058304072" sldId="473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192754520" sldId="477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307669921" sldId="478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582562790" sldId="479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04110247" sldId="480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761650995" sldId="481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309084177" sldId="482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167284082" sldId="483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93938685" sldId="484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051533857" sldId="485"/>
        </pc:sldMkLst>
      </pc:sldChg>
      <pc:sldChg chg="delSp add del mod">
        <pc:chgData name="Samsawi, Nur Syazwani" userId="4251a67a-9d6d-42cb-9517-50bf21357cd7" providerId="ADAL" clId="{2A300204-16E1-4115-A795-D033AC63AA46}" dt="2024-12-16T15:00:10.520" v="1134" actId="478"/>
        <pc:sldMkLst>
          <pc:docMk/>
          <pc:sldMk cId="1931873222" sldId="486"/>
        </pc:sldMkLst>
        <pc:grpChg chg="del">
          <ac:chgData name="Samsawi, Nur Syazwani" userId="4251a67a-9d6d-42cb-9517-50bf21357cd7" providerId="ADAL" clId="{2A300204-16E1-4115-A795-D033AC63AA46}" dt="2024-12-16T15:00:10.520" v="1134" actId="478"/>
          <ac:grpSpMkLst>
            <pc:docMk/>
            <pc:sldMk cId="1931873222" sldId="486"/>
            <ac:grpSpMk id="27" creationId="{94BEC06E-A03E-5814-7B66-378239E50771}"/>
          </ac:grpSpMkLst>
        </pc:grpChg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217915226" sldId="489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86353870" sldId="490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135226414" sldId="491"/>
        </pc:sldMkLst>
      </pc:sldChg>
      <pc:sldChg chg="add del">
        <pc:chgData name="Samsawi, Nur Syazwani" userId="4251a67a-9d6d-42cb-9517-50bf21357cd7" providerId="ADAL" clId="{2A300204-16E1-4115-A795-D033AC63AA46}" dt="2024-12-16T14:56:51.618" v="1093" actId="47"/>
        <pc:sldMkLst>
          <pc:docMk/>
          <pc:sldMk cId="3286901446" sldId="492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966844647" sldId="493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745698994" sldId="495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5981988" sldId="497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167735654" sldId="498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904366802" sldId="499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865004507" sldId="500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3649457319" sldId="2147478601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2379442311" sldId="2147478771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1354210275" sldId="2147478772"/>
        </pc:sldMkLst>
      </pc:sldChg>
      <pc:sldChg chg="del">
        <pc:chgData name="Samsawi, Nur Syazwani" userId="4251a67a-9d6d-42cb-9517-50bf21357cd7" providerId="ADAL" clId="{2A300204-16E1-4115-A795-D033AC63AA46}" dt="2024-12-16T14:55:22.818" v="1089" actId="47"/>
        <pc:sldMkLst>
          <pc:docMk/>
          <pc:sldMk cId="781002482" sldId="2147478773"/>
        </pc:sldMkLst>
      </pc:sldChg>
      <pc:sldChg chg="addSp delSp modSp new mod">
        <pc:chgData name="Samsawi, Nur Syazwani" userId="4251a67a-9d6d-42cb-9517-50bf21357cd7" providerId="ADAL" clId="{2A300204-16E1-4115-A795-D033AC63AA46}" dt="2024-12-16T13:28:21.690" v="251" actId="14100"/>
        <pc:sldMkLst>
          <pc:docMk/>
          <pc:sldMk cId="388385797" sldId="2147478774"/>
        </pc:sldMkLst>
        <pc:spChg chg="add 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3" creationId="{3C93D7E6-D864-05F3-553B-5B19C6CA8B0F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5" creationId="{38BDA6DB-0BC0-0879-270B-6841F76DFD2E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6" creationId="{CA935831-ECEA-721C-AB75-8DE44B24059D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7" creationId="{9EF42A26-5232-6765-326A-D417343DDB18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8" creationId="{383BA68A-9E7C-A314-54BF-D4B04C8D9A9D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10" creationId="{7142BC0C-C724-9F5B-0D03-272585A07E3A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11" creationId="{CB527D61-E728-1338-087B-7001E8F8244B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12" creationId="{78D1A051-A22A-39F2-3E34-6D847DBBCA4E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13" creationId="{5D764A8C-9C5F-3133-2F1F-40B6130D8AF5}"/>
          </ac:spMkLst>
        </pc:spChg>
        <pc:spChg chg="mod topLvl">
          <ac:chgData name="Samsawi, Nur Syazwani" userId="4251a67a-9d6d-42cb-9517-50bf21357cd7" providerId="ADAL" clId="{2A300204-16E1-4115-A795-D033AC63AA46}" dt="2024-12-16T13:27:26.482" v="179" actId="20577"/>
          <ac:spMkLst>
            <pc:docMk/>
            <pc:sldMk cId="388385797" sldId="2147478774"/>
            <ac:spMk id="15" creationId="{D12ABE91-042B-5707-AE1A-15546BF248D7}"/>
          </ac:spMkLst>
        </pc:spChg>
        <pc:spChg chg="mod topLvl">
          <ac:chgData name="Samsawi, Nur Syazwani" userId="4251a67a-9d6d-42cb-9517-50bf21357cd7" providerId="ADAL" clId="{2A300204-16E1-4115-A795-D033AC63AA46}" dt="2024-12-16T13:27:31.550" v="185" actId="20577"/>
          <ac:spMkLst>
            <pc:docMk/>
            <pc:sldMk cId="388385797" sldId="2147478774"/>
            <ac:spMk id="16" creationId="{52C094D4-1D18-EFEE-9028-3B337074D1B8}"/>
          </ac:spMkLst>
        </pc:spChg>
        <pc:spChg chg="mod topLvl">
          <ac:chgData name="Samsawi, Nur Syazwani" userId="4251a67a-9d6d-42cb-9517-50bf21357cd7" providerId="ADAL" clId="{2A300204-16E1-4115-A795-D033AC63AA46}" dt="2024-12-16T13:27:42.600" v="198" actId="20577"/>
          <ac:spMkLst>
            <pc:docMk/>
            <pc:sldMk cId="388385797" sldId="2147478774"/>
            <ac:spMk id="17" creationId="{0753D4D1-EE0B-137A-35EC-304EBFF01C78}"/>
          </ac:spMkLst>
        </pc:spChg>
        <pc:spChg chg="mod topLvl">
          <ac:chgData name="Samsawi, Nur Syazwani" userId="4251a67a-9d6d-42cb-9517-50bf21357cd7" providerId="ADAL" clId="{2A300204-16E1-4115-A795-D033AC63AA46}" dt="2024-12-16T13:28:21.690" v="251" actId="14100"/>
          <ac:spMkLst>
            <pc:docMk/>
            <pc:sldMk cId="388385797" sldId="2147478774"/>
            <ac:spMk id="18" creationId="{FBF6B65C-3CAA-1FD8-5728-ACBB8B1A4392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20" creationId="{2FEB655C-7480-A8DF-0108-CC8EEFFA73AE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21" creationId="{E5569F3C-4F12-03ED-212B-EB20A01FFE89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22" creationId="{C6D81170-8BDF-614F-8737-8C83B6631DA7}"/>
          </ac:spMkLst>
        </pc:spChg>
        <pc:spChg chg="mod">
          <ac:chgData name="Samsawi, Nur Syazwani" userId="4251a67a-9d6d-42cb-9517-50bf21357cd7" providerId="ADAL" clId="{2A300204-16E1-4115-A795-D033AC63AA46}" dt="2024-12-16T13:26:07.058" v="100"/>
          <ac:spMkLst>
            <pc:docMk/>
            <pc:sldMk cId="388385797" sldId="2147478774"/>
            <ac:spMk id="23" creationId="{113AC447-EC5B-24B7-4BB4-054BE7EA06F8}"/>
          </ac:spMkLst>
        </pc:spChg>
        <pc:grpChg chg="add mod">
          <ac:chgData name="Samsawi, Nur Syazwani" userId="4251a67a-9d6d-42cb-9517-50bf21357cd7" providerId="ADAL" clId="{2A300204-16E1-4115-A795-D033AC63AA46}" dt="2024-12-16T13:26:07.058" v="100"/>
          <ac:grpSpMkLst>
            <pc:docMk/>
            <pc:sldMk cId="388385797" sldId="2147478774"/>
            <ac:grpSpMk id="4" creationId="{43DC34DA-E443-BC36-3C96-38A06A9C3A28}"/>
          </ac:grpSpMkLst>
        </pc:grpChg>
        <pc:grpChg chg="add del mod">
          <ac:chgData name="Samsawi, Nur Syazwani" userId="4251a67a-9d6d-42cb-9517-50bf21357cd7" providerId="ADAL" clId="{2A300204-16E1-4115-A795-D033AC63AA46}" dt="2024-12-16T13:26:15.695" v="102" actId="478"/>
          <ac:grpSpMkLst>
            <pc:docMk/>
            <pc:sldMk cId="388385797" sldId="2147478774"/>
            <ac:grpSpMk id="9" creationId="{C1D373EF-B09B-2F63-E2E1-34B46D873C1A}"/>
          </ac:grpSpMkLst>
        </pc:grpChg>
        <pc:grpChg chg="add del mod">
          <ac:chgData name="Samsawi, Nur Syazwani" userId="4251a67a-9d6d-42cb-9517-50bf21357cd7" providerId="ADAL" clId="{2A300204-16E1-4115-A795-D033AC63AA46}" dt="2024-12-16T13:26:40.466" v="148" actId="165"/>
          <ac:grpSpMkLst>
            <pc:docMk/>
            <pc:sldMk cId="388385797" sldId="2147478774"/>
            <ac:grpSpMk id="14" creationId="{23FA3701-7640-B4E6-5BB0-05A7CE9F5864}"/>
          </ac:grpSpMkLst>
        </pc:grpChg>
        <pc:grpChg chg="add del mod">
          <ac:chgData name="Samsawi, Nur Syazwani" userId="4251a67a-9d6d-42cb-9517-50bf21357cd7" providerId="ADAL" clId="{2A300204-16E1-4115-A795-D033AC63AA46}" dt="2024-12-16T13:26:13.561" v="101" actId="478"/>
          <ac:grpSpMkLst>
            <pc:docMk/>
            <pc:sldMk cId="388385797" sldId="2147478774"/>
            <ac:grpSpMk id="19" creationId="{81C89703-2064-968C-C501-C4C106AE8A05}"/>
          </ac:grpSpMkLst>
        </pc:grpChg>
        <pc:picChg chg="add mod">
          <ac:chgData name="Samsawi, Nur Syazwani" userId="4251a67a-9d6d-42cb-9517-50bf21357cd7" providerId="ADAL" clId="{2A300204-16E1-4115-A795-D033AC63AA46}" dt="2024-12-16T13:26:07.058" v="100"/>
          <ac:picMkLst>
            <pc:docMk/>
            <pc:sldMk cId="388385797" sldId="2147478774"/>
            <ac:picMk id="2" creationId="{21F3E057-F41B-BDF4-7043-61E87E72BEFF}"/>
          </ac:picMkLst>
        </pc:picChg>
      </pc:sldChg>
      <pc:sldChg chg="addSp delSp modSp new mod">
        <pc:chgData name="Samsawi, Nur Syazwani" userId="4251a67a-9d6d-42cb-9517-50bf21357cd7" providerId="ADAL" clId="{2A300204-16E1-4115-A795-D033AC63AA46}" dt="2024-12-17T00:46:25.490" v="1142" actId="1036"/>
        <pc:sldMkLst>
          <pc:docMk/>
          <pc:sldMk cId="109057233" sldId="2147478775"/>
        </pc:sldMkLst>
        <pc:spChg chg="add mod">
          <ac:chgData name="Samsawi, Nur Syazwani" userId="4251a67a-9d6d-42cb-9517-50bf21357cd7" providerId="ADAL" clId="{2A300204-16E1-4115-A795-D033AC63AA46}" dt="2024-12-16T14:11:41.817" v="673" actId="207"/>
          <ac:spMkLst>
            <pc:docMk/>
            <pc:sldMk cId="109057233" sldId="2147478775"/>
            <ac:spMk id="2" creationId="{BD199B14-5EE5-28CA-7059-D5BC701C474F}"/>
          </ac:spMkLst>
        </pc:spChg>
        <pc:spChg chg="add mod">
          <ac:chgData name="Samsawi, Nur Syazwani" userId="4251a67a-9d6d-42cb-9517-50bf21357cd7" providerId="ADAL" clId="{2A300204-16E1-4115-A795-D033AC63AA46}" dt="2024-12-16T13:30:36.412" v="276" actId="20577"/>
          <ac:spMkLst>
            <pc:docMk/>
            <pc:sldMk cId="109057233" sldId="2147478775"/>
            <ac:spMk id="3" creationId="{FC35BE48-0816-F7A0-B9DF-8289EC455801}"/>
          </ac:spMkLst>
        </pc:spChg>
        <pc:spChg chg="add del mod">
          <ac:chgData name="Samsawi, Nur Syazwani" userId="4251a67a-9d6d-42cb-9517-50bf21357cd7" providerId="ADAL" clId="{2A300204-16E1-4115-A795-D033AC63AA46}" dt="2024-12-16T13:43:16.324" v="327" actId="478"/>
          <ac:spMkLst>
            <pc:docMk/>
            <pc:sldMk cId="109057233" sldId="2147478775"/>
            <ac:spMk id="4" creationId="{63766EA3-8AB9-473F-11B4-8C533FFA096D}"/>
          </ac:spMkLst>
        </pc:spChg>
        <pc:spChg chg="add del mod topLvl">
          <ac:chgData name="Samsawi, Nur Syazwani" userId="4251a67a-9d6d-42cb-9517-50bf21357cd7" providerId="ADAL" clId="{2A300204-16E1-4115-A795-D033AC63AA46}" dt="2024-12-16T13:51:12.579" v="353" actId="478"/>
          <ac:spMkLst>
            <pc:docMk/>
            <pc:sldMk cId="109057233" sldId="2147478775"/>
            <ac:spMk id="5" creationId="{3A2F00D7-B34D-3F33-042E-A3DD33DB1874}"/>
          </ac:spMkLst>
        </pc:spChg>
        <pc:spChg chg="add del mod topLvl">
          <ac:chgData name="Samsawi, Nur Syazwani" userId="4251a67a-9d6d-42cb-9517-50bf21357cd7" providerId="ADAL" clId="{2A300204-16E1-4115-A795-D033AC63AA46}" dt="2024-12-16T13:51:13.227" v="354" actId="478"/>
          <ac:spMkLst>
            <pc:docMk/>
            <pc:sldMk cId="109057233" sldId="2147478775"/>
            <ac:spMk id="6" creationId="{E815E176-1150-90F9-7B46-71467587C39D}"/>
          </ac:spMkLst>
        </pc:spChg>
        <pc:spChg chg="add del mod topLvl">
          <ac:chgData name="Samsawi, Nur Syazwani" userId="4251a67a-9d6d-42cb-9517-50bf21357cd7" providerId="ADAL" clId="{2A300204-16E1-4115-A795-D033AC63AA46}" dt="2024-12-16T13:51:13.728" v="355" actId="478"/>
          <ac:spMkLst>
            <pc:docMk/>
            <pc:sldMk cId="109057233" sldId="2147478775"/>
            <ac:spMk id="7" creationId="{C3AC8EF6-2EAE-A9C1-BEB9-2349D04A4D52}"/>
          </ac:spMkLst>
        </pc:spChg>
        <pc:spChg chg="mod">
          <ac:chgData name="Samsawi, Nur Syazwani" userId="4251a67a-9d6d-42cb-9517-50bf21357cd7" providerId="ADAL" clId="{2A300204-16E1-4115-A795-D033AC63AA46}" dt="2024-12-16T13:48:16.752" v="345" actId="165"/>
          <ac:spMkLst>
            <pc:docMk/>
            <pc:sldMk cId="109057233" sldId="2147478775"/>
            <ac:spMk id="9" creationId="{E10D602B-D3A0-082D-BE4B-EE6639AFF8DD}"/>
          </ac:spMkLst>
        </pc:spChg>
        <pc:spChg chg="mod">
          <ac:chgData name="Samsawi, Nur Syazwani" userId="4251a67a-9d6d-42cb-9517-50bf21357cd7" providerId="ADAL" clId="{2A300204-16E1-4115-A795-D033AC63AA46}" dt="2024-12-16T13:48:16.752" v="345" actId="165"/>
          <ac:spMkLst>
            <pc:docMk/>
            <pc:sldMk cId="109057233" sldId="2147478775"/>
            <ac:spMk id="10" creationId="{BF4C6807-EAB2-00E3-5978-D9F1667B60C7}"/>
          </ac:spMkLst>
        </pc:spChg>
        <pc:spChg chg="mod">
          <ac:chgData name="Samsawi, Nur Syazwani" userId="4251a67a-9d6d-42cb-9517-50bf21357cd7" providerId="ADAL" clId="{2A300204-16E1-4115-A795-D033AC63AA46}" dt="2024-12-16T13:48:16.752" v="345" actId="165"/>
          <ac:spMkLst>
            <pc:docMk/>
            <pc:sldMk cId="109057233" sldId="2147478775"/>
            <ac:spMk id="12" creationId="{9A8F450C-15DB-F15E-4924-A8AEBE32E574}"/>
          </ac:spMkLst>
        </pc:spChg>
        <pc:spChg chg="mod">
          <ac:chgData name="Samsawi, Nur Syazwani" userId="4251a67a-9d6d-42cb-9517-50bf21357cd7" providerId="ADAL" clId="{2A300204-16E1-4115-A795-D033AC63AA46}" dt="2024-12-16T13:48:16.752" v="345" actId="165"/>
          <ac:spMkLst>
            <pc:docMk/>
            <pc:sldMk cId="109057233" sldId="2147478775"/>
            <ac:spMk id="13" creationId="{84802A2E-F867-F0DA-19DC-FBBD976EC75C}"/>
          </ac:spMkLst>
        </pc:spChg>
        <pc:spChg chg="mod">
          <ac:chgData name="Samsawi, Nur Syazwani" userId="4251a67a-9d6d-42cb-9517-50bf21357cd7" providerId="ADAL" clId="{2A300204-16E1-4115-A795-D033AC63AA46}" dt="2024-12-16T13:48:16.752" v="345" actId="165"/>
          <ac:spMkLst>
            <pc:docMk/>
            <pc:sldMk cId="109057233" sldId="2147478775"/>
            <ac:spMk id="14" creationId="{3B9835E6-AA7E-B85E-4B2D-55987D7B6B3E}"/>
          </ac:spMkLst>
        </pc:spChg>
        <pc:spChg chg="add del mod">
          <ac:chgData name="Samsawi, Nur Syazwani" userId="4251a67a-9d6d-42cb-9517-50bf21357cd7" providerId="ADAL" clId="{2A300204-16E1-4115-A795-D033AC63AA46}" dt="2024-12-16T13:51:08.697" v="350" actId="478"/>
          <ac:spMkLst>
            <pc:docMk/>
            <pc:sldMk cId="109057233" sldId="2147478775"/>
            <ac:spMk id="16" creationId="{B19811B2-3235-D4E0-646C-B2AEBDD41300}"/>
          </ac:spMkLst>
        </pc:spChg>
        <pc:spChg chg="add mod">
          <ac:chgData name="Samsawi, Nur Syazwani" userId="4251a67a-9d6d-42cb-9517-50bf21357cd7" providerId="ADAL" clId="{2A300204-16E1-4115-A795-D033AC63AA46}" dt="2024-12-16T14:08:32.741" v="521" actId="20577"/>
          <ac:spMkLst>
            <pc:docMk/>
            <pc:sldMk cId="109057233" sldId="2147478775"/>
            <ac:spMk id="27" creationId="{B58CF5DC-BC00-A18E-AB55-C7FFCAC2FA71}"/>
          </ac:spMkLst>
        </pc:spChg>
        <pc:spChg chg="add mod">
          <ac:chgData name="Samsawi, Nur Syazwani" userId="4251a67a-9d6d-42cb-9517-50bf21357cd7" providerId="ADAL" clId="{2A300204-16E1-4115-A795-D033AC63AA46}" dt="2024-12-16T14:08:54.951" v="544" actId="20577"/>
          <ac:spMkLst>
            <pc:docMk/>
            <pc:sldMk cId="109057233" sldId="2147478775"/>
            <ac:spMk id="28" creationId="{C8FF3DD7-E3FF-0A5B-6CEE-ABD6D041E638}"/>
          </ac:spMkLst>
        </pc:spChg>
        <pc:spChg chg="add del mod">
          <ac:chgData name="Samsawi, Nur Syazwani" userId="4251a67a-9d6d-42cb-9517-50bf21357cd7" providerId="ADAL" clId="{2A300204-16E1-4115-A795-D033AC63AA46}" dt="2024-12-16T14:06:50.140" v="457" actId="478"/>
          <ac:spMkLst>
            <pc:docMk/>
            <pc:sldMk cId="109057233" sldId="2147478775"/>
            <ac:spMk id="29" creationId="{95B4E630-B668-1E5D-0170-05EE1F4541A9}"/>
          </ac:spMkLst>
        </pc:spChg>
        <pc:spChg chg="add mod">
          <ac:chgData name="Samsawi, Nur Syazwani" userId="4251a67a-9d6d-42cb-9517-50bf21357cd7" providerId="ADAL" clId="{2A300204-16E1-4115-A795-D033AC63AA46}" dt="2024-12-17T00:46:25.490" v="1142" actId="1036"/>
          <ac:spMkLst>
            <pc:docMk/>
            <pc:sldMk cId="109057233" sldId="2147478775"/>
            <ac:spMk id="30" creationId="{A70B31E3-89E5-2BF7-962F-EF97FF45FFD5}"/>
          </ac:spMkLst>
        </pc:spChg>
        <pc:spChg chg="add mod">
          <ac:chgData name="Samsawi, Nur Syazwani" userId="4251a67a-9d6d-42cb-9517-50bf21357cd7" providerId="ADAL" clId="{2A300204-16E1-4115-A795-D033AC63AA46}" dt="2024-12-17T00:46:22.580" v="1140" actId="1036"/>
          <ac:spMkLst>
            <pc:docMk/>
            <pc:sldMk cId="109057233" sldId="2147478775"/>
            <ac:spMk id="31" creationId="{2A578B60-5B69-4520-95DA-BAADC4DE3939}"/>
          </ac:spMkLst>
        </pc:spChg>
        <pc:spChg chg="add mod">
          <ac:chgData name="Samsawi, Nur Syazwani" userId="4251a67a-9d6d-42cb-9517-50bf21357cd7" providerId="ADAL" clId="{2A300204-16E1-4115-A795-D033AC63AA46}" dt="2024-12-16T14:11:03.298" v="670" actId="20577"/>
          <ac:spMkLst>
            <pc:docMk/>
            <pc:sldMk cId="109057233" sldId="2147478775"/>
            <ac:spMk id="32" creationId="{BB3BD179-EE42-F634-E265-3C75D593C352}"/>
          </ac:spMkLst>
        </pc:spChg>
        <pc:grpChg chg="add del mod topLvl">
          <ac:chgData name="Samsawi, Nur Syazwani" userId="4251a67a-9d6d-42cb-9517-50bf21357cd7" providerId="ADAL" clId="{2A300204-16E1-4115-A795-D033AC63AA46}" dt="2024-12-16T13:51:09.423" v="351" actId="478"/>
          <ac:grpSpMkLst>
            <pc:docMk/>
            <pc:sldMk cId="109057233" sldId="2147478775"/>
            <ac:grpSpMk id="8" creationId="{9D04FCF1-86B2-84E3-B806-A02335F4610C}"/>
          </ac:grpSpMkLst>
        </pc:grpChg>
        <pc:grpChg chg="add del mod topLvl">
          <ac:chgData name="Samsawi, Nur Syazwani" userId="4251a67a-9d6d-42cb-9517-50bf21357cd7" providerId="ADAL" clId="{2A300204-16E1-4115-A795-D033AC63AA46}" dt="2024-12-16T13:51:10.305" v="352" actId="478"/>
          <ac:grpSpMkLst>
            <pc:docMk/>
            <pc:sldMk cId="109057233" sldId="2147478775"/>
            <ac:grpSpMk id="11" creationId="{6AED2CE0-E61E-5A80-1DFD-F9253FEE6BE7}"/>
          </ac:grpSpMkLst>
        </pc:grpChg>
        <pc:grpChg chg="add del mod">
          <ac:chgData name="Samsawi, Nur Syazwani" userId="4251a67a-9d6d-42cb-9517-50bf21357cd7" providerId="ADAL" clId="{2A300204-16E1-4115-A795-D033AC63AA46}" dt="2024-12-16T13:48:16.752" v="345" actId="165"/>
          <ac:grpSpMkLst>
            <pc:docMk/>
            <pc:sldMk cId="109057233" sldId="2147478775"/>
            <ac:grpSpMk id="15" creationId="{8DBD2BC8-AEBF-3211-5368-75A1C74EF30C}"/>
          </ac:grpSpMkLst>
        </pc:grpChg>
        <pc:picChg chg="add mod modCrop">
          <ac:chgData name="Samsawi, Nur Syazwani" userId="4251a67a-9d6d-42cb-9517-50bf21357cd7" providerId="ADAL" clId="{2A300204-16E1-4115-A795-D033AC63AA46}" dt="2024-12-16T14:05:21.904" v="403" actId="1076"/>
          <ac:picMkLst>
            <pc:docMk/>
            <pc:sldMk cId="109057233" sldId="2147478775"/>
            <ac:picMk id="18" creationId="{122311A5-C12E-8E9F-E7CD-050BC32FA24C}"/>
          </ac:picMkLst>
        </pc:picChg>
        <pc:picChg chg="add mod modCrop">
          <ac:chgData name="Samsawi, Nur Syazwani" userId="4251a67a-9d6d-42cb-9517-50bf21357cd7" providerId="ADAL" clId="{2A300204-16E1-4115-A795-D033AC63AA46}" dt="2024-12-17T00:46:18.255" v="1137" actId="14100"/>
          <ac:picMkLst>
            <pc:docMk/>
            <pc:sldMk cId="109057233" sldId="2147478775"/>
            <ac:picMk id="20" creationId="{8ACF1947-D082-419F-0084-015A9A45A2EA}"/>
          </ac:picMkLst>
        </pc:picChg>
        <pc:picChg chg="add mod modCrop">
          <ac:chgData name="Samsawi, Nur Syazwani" userId="4251a67a-9d6d-42cb-9517-50bf21357cd7" providerId="ADAL" clId="{2A300204-16E1-4115-A795-D033AC63AA46}" dt="2024-12-16T14:08:06.361" v="495" actId="14100"/>
          <ac:picMkLst>
            <pc:docMk/>
            <pc:sldMk cId="109057233" sldId="2147478775"/>
            <ac:picMk id="22" creationId="{6E7B210C-AC81-F5FE-D923-442C9D1ADC36}"/>
          </ac:picMkLst>
        </pc:picChg>
        <pc:picChg chg="add mod modCrop">
          <ac:chgData name="Samsawi, Nur Syazwani" userId="4251a67a-9d6d-42cb-9517-50bf21357cd7" providerId="ADAL" clId="{2A300204-16E1-4115-A795-D033AC63AA46}" dt="2024-12-16T14:05:21.904" v="403" actId="1076"/>
          <ac:picMkLst>
            <pc:docMk/>
            <pc:sldMk cId="109057233" sldId="2147478775"/>
            <ac:picMk id="24" creationId="{990F1F13-8022-943B-CA83-DCDBADC8FE94}"/>
          </ac:picMkLst>
        </pc:picChg>
        <pc:picChg chg="add mod modCrop">
          <ac:chgData name="Samsawi, Nur Syazwani" userId="4251a67a-9d6d-42cb-9517-50bf21357cd7" providerId="ADAL" clId="{2A300204-16E1-4115-A795-D033AC63AA46}" dt="2024-12-16T14:08:02.721" v="494" actId="14100"/>
          <ac:picMkLst>
            <pc:docMk/>
            <pc:sldMk cId="109057233" sldId="2147478775"/>
            <ac:picMk id="26" creationId="{A2FF0C66-1ACD-E916-B053-98AC110DB6B7}"/>
          </ac:picMkLst>
        </pc:picChg>
        <pc:picChg chg="add mod">
          <ac:chgData name="Samsawi, Nur Syazwani" userId="4251a67a-9d6d-42cb-9517-50bf21357cd7" providerId="ADAL" clId="{2A300204-16E1-4115-A795-D033AC63AA46}" dt="2024-12-16T13:51:47.452" v="357" actId="1076"/>
          <ac:picMkLst>
            <pc:docMk/>
            <pc:sldMk cId="109057233" sldId="2147478775"/>
            <ac:picMk id="1026" creationId="{79ADA0BE-6225-4566-2477-072389F301DA}"/>
          </ac:picMkLst>
        </pc:picChg>
      </pc:sldChg>
      <pc:sldChg chg="addSp delSp modSp add mod">
        <pc:chgData name="Samsawi, Nur Syazwani" userId="4251a67a-9d6d-42cb-9517-50bf21357cd7" providerId="ADAL" clId="{2A300204-16E1-4115-A795-D033AC63AA46}" dt="2024-12-17T00:47:25.793" v="1150" actId="1035"/>
        <pc:sldMkLst>
          <pc:docMk/>
          <pc:sldMk cId="177580133" sldId="2147478776"/>
        </pc:sldMkLst>
        <pc:spChg chg="mod">
          <ac:chgData name="Samsawi, Nur Syazwani" userId="4251a67a-9d6d-42cb-9517-50bf21357cd7" providerId="ADAL" clId="{2A300204-16E1-4115-A795-D033AC63AA46}" dt="2024-12-16T14:15:13.508" v="719" actId="20577"/>
          <ac:spMkLst>
            <pc:docMk/>
            <pc:sldMk cId="177580133" sldId="2147478776"/>
            <ac:spMk id="2" creationId="{BD4CA4CA-AC98-1CCE-4127-3BFBCAC9043F}"/>
          </ac:spMkLst>
        </pc:spChg>
        <pc:spChg chg="add mod">
          <ac:chgData name="Samsawi, Nur Syazwani" userId="4251a67a-9d6d-42cb-9517-50bf21357cd7" providerId="ADAL" clId="{2A300204-16E1-4115-A795-D033AC63AA46}" dt="2024-12-16T14:16:15.365" v="732" actId="11529"/>
          <ac:spMkLst>
            <pc:docMk/>
            <pc:sldMk cId="177580133" sldId="2147478776"/>
            <ac:spMk id="4" creationId="{93B45C24-2610-E419-C929-170DAE3A2057}"/>
          </ac:spMkLst>
        </pc:spChg>
        <pc:spChg chg="mod">
          <ac:chgData name="Samsawi, Nur Syazwani" userId="4251a67a-9d6d-42cb-9517-50bf21357cd7" providerId="ADAL" clId="{2A300204-16E1-4115-A795-D033AC63AA46}" dt="2024-12-16T14:23:26.105" v="878" actId="1038"/>
          <ac:spMkLst>
            <pc:docMk/>
            <pc:sldMk cId="177580133" sldId="2147478776"/>
            <ac:spMk id="27" creationId="{28DE2D02-56C0-B659-8501-70844CF67C11}"/>
          </ac:spMkLst>
        </pc:spChg>
        <pc:spChg chg="mod">
          <ac:chgData name="Samsawi, Nur Syazwani" userId="4251a67a-9d6d-42cb-9517-50bf21357cd7" providerId="ADAL" clId="{2A300204-16E1-4115-A795-D033AC63AA46}" dt="2024-12-16T14:23:23.414" v="877" actId="1038"/>
          <ac:spMkLst>
            <pc:docMk/>
            <pc:sldMk cId="177580133" sldId="2147478776"/>
            <ac:spMk id="28" creationId="{6A5A7C40-6932-1C3E-2517-0E3AEF15D31A}"/>
          </ac:spMkLst>
        </pc:spChg>
        <pc:spChg chg="mod">
          <ac:chgData name="Samsawi, Nur Syazwani" userId="4251a67a-9d6d-42cb-9517-50bf21357cd7" providerId="ADAL" clId="{2A300204-16E1-4115-A795-D033AC63AA46}" dt="2024-12-17T00:47:22.282" v="1148" actId="1036"/>
          <ac:spMkLst>
            <pc:docMk/>
            <pc:sldMk cId="177580133" sldId="2147478776"/>
            <ac:spMk id="30" creationId="{78C6CB7E-E9C7-1C06-C56C-0D11E6A81E85}"/>
          </ac:spMkLst>
        </pc:spChg>
        <pc:spChg chg="mod">
          <ac:chgData name="Samsawi, Nur Syazwani" userId="4251a67a-9d6d-42cb-9517-50bf21357cd7" providerId="ADAL" clId="{2A300204-16E1-4115-A795-D033AC63AA46}" dt="2024-12-17T00:47:25.793" v="1150" actId="1035"/>
          <ac:spMkLst>
            <pc:docMk/>
            <pc:sldMk cId="177580133" sldId="2147478776"/>
            <ac:spMk id="31" creationId="{A58F2C1B-F8FD-8B52-7F4A-E17A5AFC749D}"/>
          </ac:spMkLst>
        </pc:spChg>
        <pc:spChg chg="mod">
          <ac:chgData name="Samsawi, Nur Syazwani" userId="4251a67a-9d6d-42cb-9517-50bf21357cd7" providerId="ADAL" clId="{2A300204-16E1-4115-A795-D033AC63AA46}" dt="2024-12-16T14:19:44.917" v="848" actId="20577"/>
          <ac:spMkLst>
            <pc:docMk/>
            <pc:sldMk cId="177580133" sldId="2147478776"/>
            <ac:spMk id="32" creationId="{D9101871-9B70-435D-751E-90CF1DD67344}"/>
          </ac:spMkLst>
        </pc:spChg>
        <pc:picChg chg="add mod ord modCrop">
          <ac:chgData name="Samsawi, Nur Syazwani" userId="4251a67a-9d6d-42cb-9517-50bf21357cd7" providerId="ADAL" clId="{2A300204-16E1-4115-A795-D033AC63AA46}" dt="2024-12-17T00:46:39.463" v="1143" actId="14100"/>
          <ac:picMkLst>
            <pc:docMk/>
            <pc:sldMk cId="177580133" sldId="2147478776"/>
            <ac:picMk id="6" creationId="{F7A7CB95-1652-97EF-30E1-845733373271}"/>
          </ac:picMkLst>
        </pc:picChg>
        <pc:picChg chg="add mod ord modCrop">
          <ac:chgData name="Samsawi, Nur Syazwani" userId="4251a67a-9d6d-42cb-9517-50bf21357cd7" providerId="ADAL" clId="{2A300204-16E1-4115-A795-D033AC63AA46}" dt="2024-12-17T00:47:13.887" v="1145" actId="14100"/>
          <ac:picMkLst>
            <pc:docMk/>
            <pc:sldMk cId="177580133" sldId="2147478776"/>
            <ac:picMk id="8" creationId="{A0E988BB-A5AC-55EA-3209-187DA22395F5}"/>
          </ac:picMkLst>
        </pc:picChg>
        <pc:picChg chg="add del mod">
          <ac:chgData name="Samsawi, Nur Syazwani" userId="4251a67a-9d6d-42cb-9517-50bf21357cd7" providerId="ADAL" clId="{2A300204-16E1-4115-A795-D033AC63AA46}" dt="2024-12-16T14:31:07.982" v="884" actId="22"/>
          <ac:picMkLst>
            <pc:docMk/>
            <pc:sldMk cId="177580133" sldId="2147478776"/>
            <ac:picMk id="10" creationId="{FFE63FE4-B71E-B022-526B-7CD101C2259A}"/>
          </ac:picMkLst>
        </pc:picChg>
        <pc:picChg chg="del">
          <ac:chgData name="Samsawi, Nur Syazwani" userId="4251a67a-9d6d-42cb-9517-50bf21357cd7" providerId="ADAL" clId="{2A300204-16E1-4115-A795-D033AC63AA46}" dt="2024-12-16T14:21:59.370" v="864" actId="478"/>
          <ac:picMkLst>
            <pc:docMk/>
            <pc:sldMk cId="177580133" sldId="2147478776"/>
            <ac:picMk id="18" creationId="{42C582B5-E475-17DC-B1B6-BCF4EC6BFDDD}"/>
          </ac:picMkLst>
        </pc:picChg>
        <pc:picChg chg="mod">
          <ac:chgData name="Samsawi, Nur Syazwani" userId="4251a67a-9d6d-42cb-9517-50bf21357cd7" providerId="ADAL" clId="{2A300204-16E1-4115-A795-D033AC63AA46}" dt="2024-12-17T00:47:20.133" v="1146" actId="14100"/>
          <ac:picMkLst>
            <pc:docMk/>
            <pc:sldMk cId="177580133" sldId="2147478776"/>
            <ac:picMk id="20" creationId="{CC875DFF-114D-A899-E6E5-3C77FA9DDFF4}"/>
          </ac:picMkLst>
        </pc:picChg>
        <pc:picChg chg="mod">
          <ac:chgData name="Samsawi, Nur Syazwani" userId="4251a67a-9d6d-42cb-9517-50bf21357cd7" providerId="ADAL" clId="{2A300204-16E1-4115-A795-D033AC63AA46}" dt="2024-12-16T14:28:59.480" v="880" actId="14826"/>
          <ac:picMkLst>
            <pc:docMk/>
            <pc:sldMk cId="177580133" sldId="2147478776"/>
            <ac:picMk id="22" creationId="{B6131A81-AE83-D0C9-B739-AAFD1574A073}"/>
          </ac:picMkLst>
        </pc:picChg>
        <pc:picChg chg="del">
          <ac:chgData name="Samsawi, Nur Syazwani" userId="4251a67a-9d6d-42cb-9517-50bf21357cd7" providerId="ADAL" clId="{2A300204-16E1-4115-A795-D033AC63AA46}" dt="2024-12-16T14:22:58.992" v="872" actId="478"/>
          <ac:picMkLst>
            <pc:docMk/>
            <pc:sldMk cId="177580133" sldId="2147478776"/>
            <ac:picMk id="24" creationId="{C8E01FD2-81C1-8002-0345-6D7F6F1AB050}"/>
          </ac:picMkLst>
        </pc:picChg>
        <pc:picChg chg="mod">
          <ac:chgData name="Samsawi, Nur Syazwani" userId="4251a67a-9d6d-42cb-9517-50bf21357cd7" providerId="ADAL" clId="{2A300204-16E1-4115-A795-D033AC63AA46}" dt="2024-12-16T14:31:12.586" v="885" actId="14826"/>
          <ac:picMkLst>
            <pc:docMk/>
            <pc:sldMk cId="177580133" sldId="2147478776"/>
            <ac:picMk id="26" creationId="{5EA34A7A-4F05-9726-C25C-5575EEED1672}"/>
          </ac:picMkLst>
        </pc:picChg>
        <pc:picChg chg="del">
          <ac:chgData name="Samsawi, Nur Syazwani" userId="4251a67a-9d6d-42cb-9517-50bf21357cd7" providerId="ADAL" clId="{2A300204-16E1-4115-A795-D033AC63AA46}" dt="2024-12-16T14:13:22.137" v="677" actId="478"/>
          <ac:picMkLst>
            <pc:docMk/>
            <pc:sldMk cId="177580133" sldId="2147478776"/>
            <ac:picMk id="1026" creationId="{5F4DD911-229E-1E70-6E9B-6EF1A46833C7}"/>
          </ac:picMkLst>
        </pc:picChg>
        <pc:picChg chg="add mod">
          <ac:chgData name="Samsawi, Nur Syazwani" userId="4251a67a-9d6d-42cb-9517-50bf21357cd7" providerId="ADAL" clId="{2A300204-16E1-4115-A795-D033AC63AA46}" dt="2024-12-16T14:16:46.921" v="739" actId="1076"/>
          <ac:picMkLst>
            <pc:docMk/>
            <pc:sldMk cId="177580133" sldId="2147478776"/>
            <ac:picMk id="2050" creationId="{1E688A15-7622-B8C7-B520-39E7AD20D13F}"/>
          </ac:picMkLst>
        </pc:picChg>
        <pc:picChg chg="add mod">
          <ac:chgData name="Samsawi, Nur Syazwani" userId="4251a67a-9d6d-42cb-9517-50bf21357cd7" providerId="ADAL" clId="{2A300204-16E1-4115-A795-D033AC63AA46}" dt="2024-12-16T14:16:42.437" v="737" actId="1076"/>
          <ac:picMkLst>
            <pc:docMk/>
            <pc:sldMk cId="177580133" sldId="2147478776"/>
            <ac:picMk id="2052" creationId="{57B63BF1-E921-6762-CD3A-591268DE1CE6}"/>
          </ac:picMkLst>
        </pc:picChg>
      </pc:sldChg>
      <pc:sldChg chg="new del">
        <pc:chgData name="Samsawi, Nur Syazwani" userId="4251a67a-9d6d-42cb-9517-50bf21357cd7" providerId="ADAL" clId="{2A300204-16E1-4115-A795-D033AC63AA46}" dt="2024-12-16T14:12:00.360" v="675" actId="680"/>
        <pc:sldMkLst>
          <pc:docMk/>
          <pc:sldMk cId="2746826561" sldId="2147478776"/>
        </pc:sldMkLst>
      </pc:sldChg>
      <pc:sldChg chg="addSp delSp modSp add mod ord">
        <pc:chgData name="Samsawi, Nur Syazwani" userId="4251a67a-9d6d-42cb-9517-50bf21357cd7" providerId="ADAL" clId="{2A300204-16E1-4115-A795-D033AC63AA46}" dt="2024-12-17T00:47:36.019" v="1153" actId="1038"/>
        <pc:sldMkLst>
          <pc:docMk/>
          <pc:sldMk cId="3979644300" sldId="2147478777"/>
        </pc:sldMkLst>
        <pc:spChg chg="mod">
          <ac:chgData name="Samsawi, Nur Syazwani" userId="4251a67a-9d6d-42cb-9517-50bf21357cd7" providerId="ADAL" clId="{2A300204-16E1-4115-A795-D033AC63AA46}" dt="2024-12-16T14:31:57.164" v="911" actId="20577"/>
          <ac:spMkLst>
            <pc:docMk/>
            <pc:sldMk cId="3979644300" sldId="2147478777"/>
            <ac:spMk id="2" creationId="{D8C7CC88-5F53-0D52-D084-437525CF7746}"/>
          </ac:spMkLst>
        </pc:spChg>
        <pc:spChg chg="mod">
          <ac:chgData name="Samsawi, Nur Syazwani" userId="4251a67a-9d6d-42cb-9517-50bf21357cd7" providerId="ADAL" clId="{2A300204-16E1-4115-A795-D033AC63AA46}" dt="2024-12-16T14:36:35.958" v="988" actId="20577"/>
          <ac:spMkLst>
            <pc:docMk/>
            <pc:sldMk cId="3979644300" sldId="2147478777"/>
            <ac:spMk id="28" creationId="{8E89EB89-71F1-69FC-4AA3-4ED6B78671F2}"/>
          </ac:spMkLst>
        </pc:spChg>
        <pc:spChg chg="mod">
          <ac:chgData name="Samsawi, Nur Syazwani" userId="4251a67a-9d6d-42cb-9517-50bf21357cd7" providerId="ADAL" clId="{2A300204-16E1-4115-A795-D033AC63AA46}" dt="2024-12-17T00:47:36.019" v="1153" actId="1038"/>
          <ac:spMkLst>
            <pc:docMk/>
            <pc:sldMk cId="3979644300" sldId="2147478777"/>
            <ac:spMk id="30" creationId="{D640DF90-B89B-E266-C590-2B5A096A6D57}"/>
          </ac:spMkLst>
        </pc:spChg>
        <pc:spChg chg="mod">
          <ac:chgData name="Samsawi, Nur Syazwani" userId="4251a67a-9d6d-42cb-9517-50bf21357cd7" providerId="ADAL" clId="{2A300204-16E1-4115-A795-D033AC63AA46}" dt="2024-12-16T14:39:24.523" v="1026" actId="1036"/>
          <ac:spMkLst>
            <pc:docMk/>
            <pc:sldMk cId="3979644300" sldId="2147478777"/>
            <ac:spMk id="31" creationId="{E367FD62-F02B-F5A3-0C49-8589D82D0C62}"/>
          </ac:spMkLst>
        </pc:spChg>
        <pc:spChg chg="mod">
          <ac:chgData name="Samsawi, Nur Syazwani" userId="4251a67a-9d6d-42cb-9517-50bf21357cd7" providerId="ADAL" clId="{2A300204-16E1-4115-A795-D033AC63AA46}" dt="2024-12-16T14:42:53.530" v="1064" actId="1036"/>
          <ac:spMkLst>
            <pc:docMk/>
            <pc:sldMk cId="3979644300" sldId="2147478777"/>
            <ac:spMk id="32" creationId="{254EC5C5-EAF2-2E4A-C5F5-62DB641B3595}"/>
          </ac:spMkLst>
        </pc:spChg>
        <pc:picChg chg="add del">
          <ac:chgData name="Samsawi, Nur Syazwani" userId="4251a67a-9d6d-42cb-9517-50bf21357cd7" providerId="ADAL" clId="{2A300204-16E1-4115-A795-D033AC63AA46}" dt="2024-12-16T14:36:24.701" v="970" actId="22"/>
          <ac:picMkLst>
            <pc:docMk/>
            <pc:sldMk cId="3979644300" sldId="2147478777"/>
            <ac:picMk id="5" creationId="{B6EBA23C-0EA6-3990-52DC-4259DCB8EEEC}"/>
          </ac:picMkLst>
        </pc:picChg>
        <pc:picChg chg="mod">
          <ac:chgData name="Samsawi, Nur Syazwani" userId="4251a67a-9d6d-42cb-9517-50bf21357cd7" providerId="ADAL" clId="{2A300204-16E1-4115-A795-D033AC63AA46}" dt="2024-12-16T14:32:43.361" v="912" actId="14826"/>
          <ac:picMkLst>
            <pc:docMk/>
            <pc:sldMk cId="3979644300" sldId="2147478777"/>
            <ac:picMk id="18" creationId="{545A4E6B-EB29-2BCA-7749-95664BB339AE}"/>
          </ac:picMkLst>
        </pc:picChg>
        <pc:picChg chg="mod">
          <ac:chgData name="Samsawi, Nur Syazwani" userId="4251a67a-9d6d-42cb-9517-50bf21357cd7" providerId="ADAL" clId="{2A300204-16E1-4115-A795-D033AC63AA46}" dt="2024-12-16T14:35:17.194" v="928" actId="14826"/>
          <ac:picMkLst>
            <pc:docMk/>
            <pc:sldMk cId="3979644300" sldId="2147478777"/>
            <ac:picMk id="20" creationId="{583B689B-5680-4EFD-99FF-3A647A0407D1}"/>
          </ac:picMkLst>
        </pc:picChg>
        <pc:picChg chg="mod">
          <ac:chgData name="Samsawi, Nur Syazwani" userId="4251a67a-9d6d-42cb-9517-50bf21357cd7" providerId="ADAL" clId="{2A300204-16E1-4115-A795-D033AC63AA46}" dt="2024-12-16T14:52:36.721" v="1067" actId="14826"/>
          <ac:picMkLst>
            <pc:docMk/>
            <pc:sldMk cId="3979644300" sldId="2147478777"/>
            <ac:picMk id="22" creationId="{B764ED89-822C-44BA-5DF0-A011D698AFB7}"/>
          </ac:picMkLst>
        </pc:picChg>
        <pc:picChg chg="mod">
          <ac:chgData name="Samsawi, Nur Syazwani" userId="4251a67a-9d6d-42cb-9517-50bf21357cd7" providerId="ADAL" clId="{2A300204-16E1-4115-A795-D033AC63AA46}" dt="2024-12-16T14:36:29.758" v="971" actId="14826"/>
          <ac:picMkLst>
            <pc:docMk/>
            <pc:sldMk cId="3979644300" sldId="2147478777"/>
            <ac:picMk id="24" creationId="{D469E28C-6249-161D-0789-4FB06CF1608E}"/>
          </ac:picMkLst>
        </pc:picChg>
        <pc:picChg chg="mod">
          <ac:chgData name="Samsawi, Nur Syazwani" userId="4251a67a-9d6d-42cb-9517-50bf21357cd7" providerId="ADAL" clId="{2A300204-16E1-4115-A795-D033AC63AA46}" dt="2024-12-16T14:50:03.940" v="1066" actId="14826"/>
          <ac:picMkLst>
            <pc:docMk/>
            <pc:sldMk cId="3979644300" sldId="2147478777"/>
            <ac:picMk id="26" creationId="{D8CCC9BB-1F33-F084-2ED3-F4A16D8B1172}"/>
          </ac:picMkLst>
        </pc:picChg>
        <pc:picChg chg="add del mod">
          <ac:chgData name="Samsawi, Nur Syazwani" userId="4251a67a-9d6d-42cb-9517-50bf21357cd7" providerId="ADAL" clId="{2A300204-16E1-4115-A795-D033AC63AA46}" dt="2024-12-16T14:54:44.108" v="1086" actId="1076"/>
          <ac:picMkLst>
            <pc:docMk/>
            <pc:sldMk cId="3979644300" sldId="2147478777"/>
            <ac:picMk id="1026" creationId="{236985FC-C637-BB9D-49C1-BB40D619662A}"/>
          </ac:picMkLst>
        </pc:picChg>
        <pc:picChg chg="add">
          <ac:chgData name="Samsawi, Nur Syazwani" userId="4251a67a-9d6d-42cb-9517-50bf21357cd7" providerId="ADAL" clId="{2A300204-16E1-4115-A795-D033AC63AA46}" dt="2024-12-16T14:49:56.699" v="1065"/>
          <ac:picMkLst>
            <pc:docMk/>
            <pc:sldMk cId="3979644300" sldId="2147478777"/>
            <ac:picMk id="3074" creationId="{F1F972B7-82D1-EC8A-85BF-A3575281C697}"/>
          </ac:picMkLst>
        </pc:picChg>
        <pc:picChg chg="add mod">
          <ac:chgData name="Samsawi, Nur Syazwani" userId="4251a67a-9d6d-42cb-9517-50bf21357cd7" providerId="ADAL" clId="{2A300204-16E1-4115-A795-D033AC63AA46}" dt="2024-12-16T14:54:54.634" v="1088" actId="1076"/>
          <ac:picMkLst>
            <pc:docMk/>
            <pc:sldMk cId="3979644300" sldId="2147478777"/>
            <ac:picMk id="3076" creationId="{2757686E-3088-8BD2-358E-C69E1B15E824}"/>
          </ac:picMkLst>
        </pc:picChg>
      </pc:sldChg>
      <pc:sldChg chg="delSp add">
        <pc:chgData name="Samsawi, Nur Syazwani" userId="4251a67a-9d6d-42cb-9517-50bf21357cd7" providerId="ADAL" clId="{2A300204-16E1-4115-A795-D033AC63AA46}" dt="2024-12-16T15:00:17.962" v="1135" actId="478"/>
        <pc:sldMkLst>
          <pc:docMk/>
          <pc:sldMk cId="2741049085" sldId="2147478778"/>
        </pc:sldMkLst>
        <pc:grpChg chg="del">
          <ac:chgData name="Samsawi, Nur Syazwani" userId="4251a67a-9d6d-42cb-9517-50bf21357cd7" providerId="ADAL" clId="{2A300204-16E1-4115-A795-D033AC63AA46}" dt="2024-12-16T15:00:17.962" v="1135" actId="478"/>
          <ac:grpSpMkLst>
            <pc:docMk/>
            <pc:sldMk cId="2741049085" sldId="2147478778"/>
            <ac:grpSpMk id="69" creationId="{B847233D-B4A2-9C59-3CC9-396EC39B1196}"/>
          </ac:grpSpMkLst>
        </pc:grpChg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4100865719" sldId="2147478779"/>
        </pc:sldMkLst>
      </pc:sldChg>
      <pc:sldChg chg="add del">
        <pc:chgData name="Samsawi, Nur Syazwani" userId="4251a67a-9d6d-42cb-9517-50bf21357cd7" providerId="ADAL" clId="{2A300204-16E1-4115-A795-D033AC63AA46}" dt="2024-12-16T14:57:01.916" v="1094" actId="47"/>
        <pc:sldMkLst>
          <pc:docMk/>
          <pc:sldMk cId="2364236010" sldId="2147478780"/>
        </pc:sldMkLst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193368913" sldId="2147478781"/>
        </pc:sldMkLst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1297699911" sldId="2147478782"/>
        </pc:sldMkLst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1388639150" sldId="2147478783"/>
        </pc:sldMkLst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4276238267" sldId="2147478784"/>
        </pc:sldMkLst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2595682154" sldId="2147478785"/>
        </pc:sldMkLst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3661851016" sldId="2147478788"/>
        </pc:sldMkLst>
      </pc:sldChg>
      <pc:sldChg chg="add">
        <pc:chgData name="Samsawi, Nur Syazwani" userId="4251a67a-9d6d-42cb-9517-50bf21357cd7" providerId="ADAL" clId="{2A300204-16E1-4115-A795-D033AC63AA46}" dt="2024-12-16T14:56:10.136" v="1091"/>
        <pc:sldMkLst>
          <pc:docMk/>
          <pc:sldMk cId="267420074" sldId="2147478789"/>
        </pc:sldMkLst>
      </pc:sldChg>
      <pc:sldChg chg="add modTransition">
        <pc:chgData name="Samsawi, Nur Syazwani" userId="4251a67a-9d6d-42cb-9517-50bf21357cd7" providerId="ADAL" clId="{2A300204-16E1-4115-A795-D033AC63AA46}" dt="2024-12-16T15:00:54.784" v="1136"/>
        <pc:sldMkLst>
          <pc:docMk/>
          <pc:sldMk cId="772470784" sldId="2147478790"/>
        </pc:sldMkLst>
      </pc:sldChg>
      <pc:sldChg chg="add del">
        <pc:chgData name="Samsawi, Nur Syazwani" userId="4251a67a-9d6d-42cb-9517-50bf21357cd7" providerId="ADAL" clId="{2A300204-16E1-4115-A795-D033AC63AA46}" dt="2024-12-16T14:57:47.291" v="1097" actId="47"/>
        <pc:sldMkLst>
          <pc:docMk/>
          <pc:sldMk cId="2960980549" sldId="2147478791"/>
        </pc:sldMkLst>
      </pc:sldChg>
      <pc:sldChg chg="add del">
        <pc:chgData name="Samsawi, Nur Syazwani" userId="4251a67a-9d6d-42cb-9517-50bf21357cd7" providerId="ADAL" clId="{2A300204-16E1-4115-A795-D033AC63AA46}" dt="2024-12-16T14:57:47.291" v="1097" actId="47"/>
        <pc:sldMkLst>
          <pc:docMk/>
          <pc:sldMk cId="1539593267" sldId="2147478792"/>
        </pc:sldMkLst>
      </pc:sldChg>
      <pc:sldChg chg="add del">
        <pc:chgData name="Samsawi, Nur Syazwani" userId="4251a67a-9d6d-42cb-9517-50bf21357cd7" providerId="ADAL" clId="{2A300204-16E1-4115-A795-D033AC63AA46}" dt="2024-12-16T14:57:47.291" v="1097" actId="47"/>
        <pc:sldMkLst>
          <pc:docMk/>
          <pc:sldMk cId="3420569496" sldId="2147478793"/>
        </pc:sldMkLst>
      </pc:sldChg>
      <pc:sldChg chg="add del">
        <pc:chgData name="Samsawi, Nur Syazwani" userId="4251a67a-9d6d-42cb-9517-50bf21357cd7" providerId="ADAL" clId="{2A300204-16E1-4115-A795-D033AC63AA46}" dt="2024-12-16T14:57:47.291" v="1097" actId="47"/>
        <pc:sldMkLst>
          <pc:docMk/>
          <pc:sldMk cId="483362027" sldId="2147478794"/>
        </pc:sldMkLst>
      </pc:sldChg>
      <pc:sldChg chg="add del">
        <pc:chgData name="Samsawi, Nur Syazwani" userId="4251a67a-9d6d-42cb-9517-50bf21357cd7" providerId="ADAL" clId="{2A300204-16E1-4115-A795-D033AC63AA46}" dt="2024-12-16T14:57:10.057" v="1095" actId="47"/>
        <pc:sldMkLst>
          <pc:docMk/>
          <pc:sldMk cId="954316390" sldId="2147478796"/>
        </pc:sldMkLst>
      </pc:sldChg>
      <pc:sldChg chg="add del">
        <pc:chgData name="Samsawi, Nur Syazwani" userId="4251a67a-9d6d-42cb-9517-50bf21357cd7" providerId="ADAL" clId="{2A300204-16E1-4115-A795-D033AC63AA46}" dt="2024-12-16T14:57:13.228" v="1096" actId="47"/>
        <pc:sldMkLst>
          <pc:docMk/>
          <pc:sldMk cId="2913574827" sldId="2147478797"/>
        </pc:sldMkLst>
      </pc:sldChg>
      <pc:sldChg chg="add del">
        <pc:chgData name="Samsawi, Nur Syazwani" userId="4251a67a-9d6d-42cb-9517-50bf21357cd7" providerId="ADAL" clId="{2A300204-16E1-4115-A795-D033AC63AA46}" dt="2024-12-16T14:57:10.057" v="1095" actId="47"/>
        <pc:sldMkLst>
          <pc:docMk/>
          <pc:sldMk cId="1504376836" sldId="2147478798"/>
        </pc:sldMkLst>
      </pc:sldChg>
      <pc:sldChg chg="add del">
        <pc:chgData name="Samsawi, Nur Syazwani" userId="4251a67a-9d6d-42cb-9517-50bf21357cd7" providerId="ADAL" clId="{2A300204-16E1-4115-A795-D033AC63AA46}" dt="2024-12-16T14:57:01.916" v="1094" actId="47"/>
        <pc:sldMkLst>
          <pc:docMk/>
          <pc:sldMk cId="2933584458" sldId="2147478799"/>
        </pc:sldMkLst>
      </pc:sldChg>
      <pc:sldChg chg="add del">
        <pc:chgData name="Samsawi, Nur Syazwani" userId="4251a67a-9d6d-42cb-9517-50bf21357cd7" providerId="ADAL" clId="{2A300204-16E1-4115-A795-D033AC63AA46}" dt="2024-12-16T14:59:19.512" v="1101" actId="47"/>
        <pc:sldMkLst>
          <pc:docMk/>
          <pc:sldMk cId="1700818757" sldId="2147478800"/>
        </pc:sldMkLst>
      </pc:sldChg>
      <pc:sldChg chg="modSp add mod ord">
        <pc:chgData name="Samsawi, Nur Syazwani" userId="4251a67a-9d6d-42cb-9517-50bf21357cd7" providerId="ADAL" clId="{2A300204-16E1-4115-A795-D033AC63AA46}" dt="2024-12-16T14:59:34.484" v="1133" actId="20577"/>
        <pc:sldMkLst>
          <pc:docMk/>
          <pc:sldMk cId="4109868885" sldId="2147478801"/>
        </pc:sldMkLst>
        <pc:spChg chg="mod">
          <ac:chgData name="Samsawi, Nur Syazwani" userId="4251a67a-9d6d-42cb-9517-50bf21357cd7" providerId="ADAL" clId="{2A300204-16E1-4115-A795-D033AC63AA46}" dt="2024-12-16T14:59:34.484" v="1133" actId="20577"/>
          <ac:spMkLst>
            <pc:docMk/>
            <pc:sldMk cId="4109868885" sldId="2147478801"/>
            <ac:spMk id="13" creationId="{E6485BB3-A766-E6E6-821A-7BCA4D68B885}"/>
          </ac:spMkLst>
        </pc:spChg>
      </pc:sldChg>
      <pc:sldMasterChg chg="delSldLayout">
        <pc:chgData name="Samsawi, Nur Syazwani" userId="4251a67a-9d6d-42cb-9517-50bf21357cd7" providerId="ADAL" clId="{2A300204-16E1-4115-A795-D033AC63AA46}" dt="2024-12-16T14:56:51.618" v="1093" actId="47"/>
        <pc:sldMasterMkLst>
          <pc:docMk/>
          <pc:sldMasterMk cId="0" sldId="2147483945"/>
        </pc:sldMasterMkLst>
        <pc:sldLayoutChg chg="del">
          <pc:chgData name="Samsawi, Nur Syazwani" userId="4251a67a-9d6d-42cb-9517-50bf21357cd7" providerId="ADAL" clId="{2A300204-16E1-4115-A795-D033AC63AA46}" dt="2024-12-16T14:55:33.840" v="1090" actId="47"/>
          <pc:sldLayoutMkLst>
            <pc:docMk/>
            <pc:sldMasterMk cId="0" sldId="2147483945"/>
            <pc:sldLayoutMk cId="2611709958" sldId="2147484341"/>
          </pc:sldLayoutMkLst>
        </pc:sldLayoutChg>
        <pc:sldLayoutChg chg="del">
          <pc:chgData name="Samsawi, Nur Syazwani" userId="4251a67a-9d6d-42cb-9517-50bf21357cd7" providerId="ADAL" clId="{2A300204-16E1-4115-A795-D033AC63AA46}" dt="2024-12-16T14:56:51.618" v="1093" actId="47"/>
          <pc:sldLayoutMkLst>
            <pc:docMk/>
            <pc:sldMasterMk cId="0" sldId="2147483945"/>
            <pc:sldLayoutMk cId="355541744" sldId="2147484342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3823330327" sldId="2147484342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1258004398" sldId="2147484343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4152988099" sldId="2147484344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794741333" sldId="2147484345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3583605723" sldId="2147484346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2768720669" sldId="2147484347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2126392447" sldId="2147484348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2596277551" sldId="2147484349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273633671" sldId="2147484350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2257907082" sldId="2147484351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3254698723" sldId="2147484352"/>
          </pc:sldLayoutMkLst>
        </pc:sldLayoutChg>
        <pc:sldLayoutChg chg="del">
          <pc:chgData name="Samsawi, Nur Syazwani" userId="4251a67a-9d6d-42cb-9517-50bf21357cd7" providerId="ADAL" clId="{2A300204-16E1-4115-A795-D033AC63AA46}" dt="2024-12-16T14:55:22.818" v="1089" actId="47"/>
          <pc:sldLayoutMkLst>
            <pc:docMk/>
            <pc:sldMasterMk cId="0" sldId="2147483945"/>
            <pc:sldLayoutMk cId="1161989321" sldId="214748435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564E497-DE91-4FBD-A94C-1E8DB12672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955" cy="495675"/>
          </a:xfrm>
          <a:prstGeom prst="rect">
            <a:avLst/>
          </a:prstGeom>
        </p:spPr>
        <p:txBody>
          <a:bodyPr vert="horz" lIns="89940" tIns="44971" rIns="89940" bIns="4497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dirty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C8DDF4-33EE-4D7A-8BF4-4F350EEBEE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245" y="2"/>
            <a:ext cx="2945955" cy="495675"/>
          </a:xfrm>
          <a:prstGeom prst="rect">
            <a:avLst/>
          </a:prstGeom>
        </p:spPr>
        <p:txBody>
          <a:bodyPr vert="horz" lIns="89940" tIns="44971" rIns="89940" bIns="44971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6296386-FE70-4D28-B2F0-2133066E683A}" type="datetimeFigureOut">
              <a:rPr lang="en-US"/>
              <a:pPr>
                <a:defRPr/>
              </a:pPr>
              <a:t>12/1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25EC0C-F41E-4C32-9587-A91D23545A5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323"/>
            <a:ext cx="2945955" cy="495675"/>
          </a:xfrm>
          <a:prstGeom prst="rect">
            <a:avLst/>
          </a:prstGeom>
        </p:spPr>
        <p:txBody>
          <a:bodyPr vert="horz" lIns="89940" tIns="44971" rIns="89940" bIns="4497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dirty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0BD743-00AF-4834-AE9E-C36DEAE4EC1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245" y="9429323"/>
            <a:ext cx="2945955" cy="495675"/>
          </a:xfrm>
          <a:prstGeom prst="rect">
            <a:avLst/>
          </a:prstGeom>
        </p:spPr>
        <p:txBody>
          <a:bodyPr vert="horz" lIns="89940" tIns="44971" rIns="89940" bIns="44971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55A6CEF-4CD2-46E3-A296-C5B87A4ED5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B69969B-7AFF-4007-AEED-1983D900CF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955" cy="495675"/>
          </a:xfrm>
          <a:prstGeom prst="rect">
            <a:avLst/>
          </a:prstGeom>
        </p:spPr>
        <p:txBody>
          <a:bodyPr vert="horz" lIns="97424" tIns="48711" rIns="97424" bIns="4871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833733-1010-425F-8AD3-6E2B0FF77E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245" y="2"/>
            <a:ext cx="2945955" cy="495675"/>
          </a:xfrm>
          <a:prstGeom prst="rect">
            <a:avLst/>
          </a:prstGeom>
        </p:spPr>
        <p:txBody>
          <a:bodyPr vert="horz" lIns="97424" tIns="48711" rIns="97424" bIns="48711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ED5A981-D12B-43C7-A823-15E6E21BE127}" type="datetimeFigureOut">
              <a:rPr lang="en-US"/>
              <a:pPr>
                <a:defRPr/>
              </a:pPr>
              <a:t>12/17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6F32EA9-9846-464F-ADEC-B7A095C4C49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0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424" tIns="48711" rIns="97424" bIns="48711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89AA631-3B18-435F-A011-AA082ED06F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063" y="4715483"/>
            <a:ext cx="5437550" cy="4466001"/>
          </a:xfrm>
          <a:prstGeom prst="rect">
            <a:avLst/>
          </a:prstGeom>
        </p:spPr>
        <p:txBody>
          <a:bodyPr vert="horz" lIns="97424" tIns="48711" rIns="97424" bIns="48711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F5B35D-667B-4279-8549-A090B0CA360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323"/>
            <a:ext cx="2945955" cy="495675"/>
          </a:xfrm>
          <a:prstGeom prst="rect">
            <a:avLst/>
          </a:prstGeom>
        </p:spPr>
        <p:txBody>
          <a:bodyPr vert="horz" lIns="97424" tIns="48711" rIns="97424" bIns="4871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6EFEFB-08F7-4044-8C91-162882E502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245" y="9429323"/>
            <a:ext cx="2945955" cy="495675"/>
          </a:xfrm>
          <a:prstGeom prst="rect">
            <a:avLst/>
          </a:prstGeom>
        </p:spPr>
        <p:txBody>
          <a:bodyPr vert="horz" lIns="97424" tIns="48711" rIns="97424" bIns="48711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D91FA49-97D4-4171-BBF2-343C2FED1A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2176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8013" algn="l" defTabSz="12176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7613" algn="l" defTabSz="12176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7213" algn="l" defTabSz="12176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6813" algn="l" defTabSz="12176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756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99B55A-18C3-0FDC-DFA4-B191A92D21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AF6774-5C00-5FAF-4E59-E5F1BCF967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F2D3C6-1671-E8CE-E9D3-13930A4EA2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BC96A-EFBD-18CF-C487-43A3D297C5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038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182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D91FA49-97D4-4171-BBF2-343C2FED1AF8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191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E13EB-0D49-7A1D-EB4C-5958DA2057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6DF559-F3D5-77B0-511B-FF5057E731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F669BD-B905-E43F-FB35-30E2FDC3F5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BA3689-1744-B845-3DDF-BE3471FD6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317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BC2BD-0BA8-8B0C-1466-038F0C631B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7D27DE-854F-6F70-6348-8DEDC515FE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03E7A6-76BB-A6E4-1CB3-7528638371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330B6-5571-8CB0-854E-7514AF8454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7621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8A5EE5-1BCF-A524-FB71-3822E70EF5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6ACD2C-BD1F-C2C8-D831-840321EBDB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4A93D9-1457-D023-836C-76E50E38EE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1014DD-3D02-8296-415C-2A290EA8B2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701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817AB98-4EB2-4AFB-A773-D4F58B57EA75}"/>
              </a:ext>
            </a:extLst>
          </p:cNvPr>
          <p:cNvGrpSpPr>
            <a:grpSpLocks noChangeAspect="1"/>
          </p:cNvGrpSpPr>
          <p:nvPr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BB5E8645-8C65-4A4F-9F6C-C8D4785086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AC9BBCE-8CD9-42AA-BD87-B3DF785A99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35F390B-64E9-40E4-891A-0DF6EC7749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28C630E-DA48-434D-9B8B-3AC1FEB3CE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5C5AAB0-D7AF-4E80-84E2-9EB958D1A9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7C13F4-85A9-4AEF-8601-C5D4DB66C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AF2B682-BCDF-4414-9300-A399F8ED0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A19CA01E-2A86-44D5-994A-DB370FB4C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617A928-6315-4A57-9F0F-AB7BFB601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51C7311E-77E5-4606-8403-D5EEEB4244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86481213"/>
      </p:ext>
    </p:extLst>
  </p:cSld>
  <p:clrMapOvr>
    <a:masterClrMapping/>
  </p:clrMapOvr>
  <p:transition>
    <p:fade/>
  </p:transition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Open Sans" panose="020B0606030504020204" pitchFamily="34" charset="0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Open Sans" panose="020B0606030504020204" pitchFamily="34" charset="0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Open Sans" panose="020B0606030504020204" pitchFamily="34" charset="0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Open Sans" panose="020B0606030504020204" pitchFamily="34" charset="0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Open Sans" panose="020B0606030504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9634052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29932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5796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25425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917778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hart Placeholder 2"/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659230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972115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hart Placeholder 3"/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hart Placeholder 3"/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839230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40304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67148F-E4C6-43CB-B310-653BB4392397}"/>
              </a:ext>
            </a:extLst>
          </p:cNvPr>
          <p:cNvSpPr/>
          <p:nvPr/>
        </p:nvSpPr>
        <p:spPr>
          <a:xfrm>
            <a:off x="469900" y="1716088"/>
            <a:ext cx="5486400" cy="52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F96E4C-D855-4956-B590-7EBF9BA1A7AF}"/>
              </a:ext>
            </a:extLst>
          </p:cNvPr>
          <p:cNvSpPr/>
          <p:nvPr/>
        </p:nvSpPr>
        <p:spPr>
          <a:xfrm>
            <a:off x="6246813" y="1719263"/>
            <a:ext cx="5486400" cy="52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6DEE98-F479-40E7-9D10-E5A2FE17B949}"/>
              </a:ext>
            </a:extLst>
          </p:cNvPr>
          <p:cNvSpPr/>
          <p:nvPr/>
        </p:nvSpPr>
        <p:spPr>
          <a:xfrm>
            <a:off x="469900" y="4127500"/>
            <a:ext cx="5486400" cy="523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93B25C-7323-47A8-A376-FB9236523177}"/>
              </a:ext>
            </a:extLst>
          </p:cNvPr>
          <p:cNvSpPr/>
          <p:nvPr/>
        </p:nvSpPr>
        <p:spPr>
          <a:xfrm>
            <a:off x="6246813" y="4130675"/>
            <a:ext cx="5486400" cy="523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 rtlCol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 rtlCol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 rtlCol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 rtlCol="0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954205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D42D88D-7634-4088-8EE5-88DB6CB6E30F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A48A684-3388-4CA2-A116-583CD2DF7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37A7C-3EDF-468E-8807-A480E692A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5ED34A-79DD-4482-9E1B-CD3F183567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AD1832D-6B29-41CC-AB42-4350487B35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6F8564D-C86F-42D7-A0E1-B3034A4B5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5AE6D7A-10B6-4BBF-98CD-13D5058277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A138CA5F-A437-4E1F-AE99-5750123D5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67C01EA1-2794-4CC1-A3AD-0BED496B0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1FF81EEB-713A-4377-998F-C1274C644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F5B20D6-7D44-4ACA-B4A0-173AC4211B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4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5632704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Title 1"/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3946779" cy="89598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ts val="2800"/>
              </a:lnSpc>
              <a:defRPr sz="2800" b="0">
                <a:solidFill>
                  <a:schemeClr val="bg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3869869"/>
      </p:ext>
    </p:extLst>
  </p:cSld>
  <p:clrMapOvr>
    <a:masterClrMapping/>
  </p:clrMapOvr>
  <p:transition>
    <p:fade/>
  </p:transition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D8F70EA-6B43-4DCD-8978-C99172939846}"/>
              </a:ext>
            </a:extLst>
          </p:cNvPr>
          <p:cNvSpPr/>
          <p:nvPr/>
        </p:nvSpPr>
        <p:spPr>
          <a:xfrm>
            <a:off x="469900" y="1716088"/>
            <a:ext cx="5486400" cy="52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711B99-ED6F-48EF-8074-C44AB49465F1}"/>
              </a:ext>
            </a:extLst>
          </p:cNvPr>
          <p:cNvSpPr/>
          <p:nvPr/>
        </p:nvSpPr>
        <p:spPr>
          <a:xfrm>
            <a:off x="6246813" y="1719263"/>
            <a:ext cx="5486400" cy="52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734090" y="1857894"/>
            <a:ext cx="1210207" cy="549275"/>
          </a:xfrm>
        </p:spPr>
        <p:txBody>
          <a:bodyPr rtlCol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10488434" y="1857894"/>
            <a:ext cx="1244161" cy="549275"/>
          </a:xfrm>
        </p:spPr>
        <p:txBody>
          <a:bodyPr rtlCol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192568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column text 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914400"/>
            <a:ext cx="11277600" cy="54483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 b="1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78587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ected Layout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3295" y="680091"/>
            <a:ext cx="11277600" cy="21544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 sz="14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5BC495B4-F016-B8FE-10DE-C5CC217CE5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2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258155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 b="1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5317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 b="1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17948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948358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463295" y="760999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3295" y="401749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835147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657092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CAAA628-A572-4F66-9C50-2146EE720445}"/>
              </a:ext>
            </a:extLst>
          </p:cNvPr>
          <p:cNvSpPr/>
          <p:nvPr/>
        </p:nvSpPr>
        <p:spPr>
          <a:xfrm>
            <a:off x="469900" y="1716088"/>
            <a:ext cx="5486400" cy="52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074E80-9D58-4D74-AB99-D0F495169A8A}"/>
              </a:ext>
            </a:extLst>
          </p:cNvPr>
          <p:cNvSpPr/>
          <p:nvPr/>
        </p:nvSpPr>
        <p:spPr>
          <a:xfrm>
            <a:off x="6246813" y="1719263"/>
            <a:ext cx="5486400" cy="52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F95B9FA-5F32-4810-BF15-EDE543DA6BFD}"/>
              </a:ext>
            </a:extLst>
          </p:cNvPr>
          <p:cNvSpPr/>
          <p:nvPr/>
        </p:nvSpPr>
        <p:spPr>
          <a:xfrm>
            <a:off x="469900" y="4127500"/>
            <a:ext cx="5486400" cy="523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6C18E6F-76B5-49B5-9EF6-6287A7CF4A83}"/>
              </a:ext>
            </a:extLst>
          </p:cNvPr>
          <p:cNvSpPr/>
          <p:nvPr/>
        </p:nvSpPr>
        <p:spPr>
          <a:xfrm>
            <a:off x="6246813" y="4130675"/>
            <a:ext cx="5486400" cy="523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endParaRPr lang="en-US" sz="825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10485324" y="1853601"/>
            <a:ext cx="1244161" cy="549275"/>
          </a:xfrm>
        </p:spPr>
        <p:txBody>
          <a:bodyPr rtlCol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/>
          </p:nvPr>
        </p:nvSpPr>
        <p:spPr>
          <a:xfrm>
            <a:off x="4702979" y="4258270"/>
            <a:ext cx="1239381" cy="549275"/>
          </a:xfrm>
        </p:spPr>
        <p:txBody>
          <a:bodyPr rtlCol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/>
          </p:nvPr>
        </p:nvSpPr>
        <p:spPr>
          <a:xfrm>
            <a:off x="10500785" y="4258270"/>
            <a:ext cx="1244160" cy="549275"/>
          </a:xfrm>
        </p:spPr>
        <p:txBody>
          <a:bodyPr rtlCol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735149" y="1857894"/>
            <a:ext cx="1210207" cy="549275"/>
          </a:xfrm>
        </p:spPr>
        <p:txBody>
          <a:bodyPr rtlCol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9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>
                <a:latin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169976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C0E179A-4C36-4F0F-8B40-96A584553A76}"/>
              </a:ext>
            </a:extLst>
          </p:cNvPr>
          <p:cNvGrpSpPr>
            <a:grpSpLocks noChangeAspect="1"/>
          </p:cNvGrpSpPr>
          <p:nvPr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604F9251-D0EC-46AB-9336-F80889E2C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E859C40B-4F51-422E-B9DA-689E32272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D2138254-EB73-45BD-9855-2D177AA56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9A931552-824F-4A18-9670-8ADFFB3BC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74B139C4-48BF-4F97-8373-4B930AFF3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E4388C9E-E64C-4996-9306-73A0EC8A49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C1636C4A-458D-46A7-A2DF-17D0A2B10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C1000250-9363-4977-929F-2DF8D2C81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F0AE0241-FE80-4ACE-864C-E17F8314C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FDCB66D2-4CDE-4770-89E6-4D1B6B970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406185" y="4189870"/>
            <a:ext cx="2319503" cy="1725448"/>
          </a:xfrm>
        </p:spPr>
        <p:txBody>
          <a:bodyPr rtlCol="0" anchor="ctr">
            <a:normAutofit/>
          </a:bodyPr>
          <a:lstStyle>
            <a:lvl1pPr algn="ctr">
              <a:defRPr sz="8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73269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AF39F7C-3786-46BA-9C2E-543D4EE7AD5C}"/>
              </a:ext>
            </a:extLst>
          </p:cNvPr>
          <p:cNvCxnSpPr/>
          <p:nvPr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A6CCFC03-B5DA-49A0-A2D7-DBB07BE76513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E3D76C6F-8328-4262-8AC1-595569B00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02E20F9A-FC36-4D9C-B115-6C43A704A9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15286594-C811-4A52-8E71-CF69BB5EC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1D96A1C-79CD-469C-833C-10185A90D6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CA345151-9F25-49C0-88B3-D12C47054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F3F45D59-1D5A-4868-85B4-ECA190A58B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8BCFC2D5-3681-4A89-A5A0-FF86386A4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E378094E-F385-4346-BBC1-AF7F17974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A0AB4D66-7BC7-4E33-9DE7-11C5E91AB0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F422E21-D976-44A5-802B-5691EF3E05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17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/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365294"/>
      </p:ext>
    </p:extLst>
  </p:cSld>
  <p:clrMapOvr>
    <a:masterClrMapping/>
  </p:clrMapOvr>
  <p:transition>
    <p:fade/>
  </p:transition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724FD58-1E52-4ABB-873A-EBBFBA52036A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6E03FB5E-6E06-4043-AE8A-F6452A64C3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75C08E53-D3E1-405A-8EB3-BB2C6B60E7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75AED26B-94EC-47F8-8C99-F9D1A9FAD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2D84CB22-EB77-42DF-AA50-499EBBD191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69629A7F-FB6B-4043-8C6E-3703BEA48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D770AAAF-3097-4B1E-8B6E-62A7F4C2F3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87B7DB4D-97BA-4B9C-924A-FC46E1C53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BB36343C-A59C-4828-B533-FD3F24670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0C4BDD92-E957-4FBF-850C-CC9B334F83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D25FFDE8-5ED5-4A14-9E8E-52F01DCB7D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412074" y="4189870"/>
            <a:ext cx="2319503" cy="1725448"/>
          </a:xfrm>
        </p:spPr>
        <p:txBody>
          <a:bodyPr rtlCol="0" anchor="ctr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5317592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lang="en-US" sz="2000" b="0" kern="1200" dirty="0" smtClean="0">
                <a:solidFill>
                  <a:srgbClr val="57575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3543"/>
            <a:ext cx="11184000" cy="4536000"/>
          </a:xfrm>
        </p:spPr>
        <p:txBody>
          <a:bodyPr/>
          <a:lstStyle>
            <a:lvl1pPr marL="0" indent="0">
              <a:buNone/>
              <a:defRPr/>
            </a:lvl1pPr>
            <a:lvl2pPr marL="266327" indent="-266327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652478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D4080-65D7-47E9-8515-C813AF2DF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373D4A-41D9-4D5D-BCCF-764FD45D67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753627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953995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05972C-4EB5-02E5-D3B3-796AF5ABC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78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5972C-4EB5-02E5-D3B3-796AF5ABC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567164D-98D6-14DE-1654-80431002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429176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2398D06-C488-9DDB-E248-1C4BC1724227}"/>
              </a:ext>
            </a:extLst>
          </p:cNvPr>
          <p:cNvSpPr txBox="1"/>
          <p:nvPr userDrawn="1"/>
        </p:nvSpPr>
        <p:spPr>
          <a:xfrm>
            <a:off x="450000" y="6515063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IE" sz="8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3 Deloitte Ireland LLP. All rights reserv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A4DFC-A5BD-1CA7-953A-4298BCF3311A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7613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41A6448-2CDA-7D6D-F1A0-347696B21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91994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567E4FE-8006-4455-B554-2D31B6617D63}"/>
              </a:ext>
            </a:extLst>
          </p:cNvPr>
          <p:cNvGrpSpPr>
            <a:grpSpLocks noChangeAspect="1"/>
          </p:cNvGrpSpPr>
          <p:nvPr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29C8480-E56D-453D-97B9-9365EEDF0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CC510C9-19EC-497B-9974-1B8077B297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152FCD8-98EF-4C2B-8596-61FA3A74D2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69941CE-8BA2-40CE-BB15-8F22697095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4083713-8AFE-4D32-AECF-EB5D04C62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EF5B08-DB21-4C40-9BE3-ED4B8A7FA8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F40E0D1-8176-4FC2-A19D-AC3ACC72B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BA489F2-19AF-4385-AD01-AAD0C313D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083FB00-57AC-4C59-86A8-62F90F1028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FF2EAC4-AD46-4C7A-8296-0DABD06C3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17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1" name="Title 1"/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2112270"/>
      </p:ext>
    </p:extLst>
  </p:cSld>
  <p:clrMapOvr>
    <a:masterClrMapping/>
  </p:clrMapOvr>
  <p:transition>
    <p:fade/>
  </p:transition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161409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green accent 4">
    <p:bg bwMode="gray">
      <p:bgPr>
        <a:solidFill>
          <a:srgbClr val="046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700F50FF-4B40-42AB-B996-D3108A149A85}"/>
              </a:ext>
            </a:extLst>
          </p:cNvPr>
          <p:cNvSpPr txBox="1"/>
          <p:nvPr userDrawn="1"/>
        </p:nvSpPr>
        <p:spPr>
          <a:xfrm>
            <a:off x="460375" y="6519863"/>
            <a:ext cx="535463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4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800" dirty="0">
                <a:solidFill>
                  <a:schemeClr val="bg1"/>
                </a:solidFill>
                <a:latin typeface="Open Sans" panose="020B0606030504020204" pitchFamily="34" charset="0"/>
                <a:cs typeface="Open Sans" panose="020B0606030504020204" pitchFamily="34" charset="0"/>
              </a:rPr>
              <a:t>© 2024 Deloitte Ireland LLP. All rights reserv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B2760E-D4CC-4151-B052-E68526E0A9B1}"/>
              </a:ext>
            </a:extLst>
          </p:cNvPr>
          <p:cNvSpPr txBox="1"/>
          <p:nvPr userDrawn="1"/>
        </p:nvSpPr>
        <p:spPr>
          <a:xfrm>
            <a:off x="11426825" y="6519863"/>
            <a:ext cx="307975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4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5CBACB3-0E04-4EF2-ADE2-D9C8306FC593}" type="slidenum">
              <a:rPr lang="en-US" sz="800">
                <a:solidFill>
                  <a:schemeClr val="bg1"/>
                </a:solidFill>
                <a:latin typeface="Open Sans" panose="020B0606030504020204" pitchFamily="34" charset="0"/>
                <a:cs typeface="Open Sans" panose="020B0606030504020204" pitchFamily="34" charset="0"/>
              </a:rPr>
              <a:pPr algn="r" eaLnBrk="1" fontAlgn="auto" hangingPunct="1">
                <a:spcBef>
                  <a:spcPts val="4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800">
              <a:solidFill>
                <a:schemeClr val="bg1"/>
              </a:solidFill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08482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3295" y="682940"/>
            <a:ext cx="112776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 sz="1600" b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956763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 algn="l">
              <a:buFontTx/>
              <a:buNone/>
              <a:defRPr sz="1200">
                <a:latin typeface="Open Sans" panose="020B0606030504020204" pitchFamily="34" charset="0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Open Sans" panose="020B0606030504020204" pitchFamily="34" charset="0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Open Sans" panose="020B0606030504020204" pitchFamily="34" charset="0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Open Sans" panose="020B0606030504020204" pitchFamily="34" charset="0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5658416"/>
      </p:ext>
    </p:extLst>
  </p:cSld>
  <p:clrMapOvr>
    <a:masterClrMapping/>
  </p:clrMapOvr>
  <p:transition>
    <p:fade/>
  </p:transition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Open Sans" panose="020B0606030504020204" pitchFamily="34" charset="0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Open Sans" panose="020B0606030504020204" pitchFamily="34" charset="0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Open Sans" panose="020B0606030504020204" pitchFamily="34" charset="0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Open Sans" panose="020B0606030504020204" pitchFamily="34" charset="0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Open Sans" panose="020B0606030504020204" pitchFamily="34" charset="0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0560645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>
            <a:extLst>
              <a:ext uri="{FF2B5EF4-FFF2-40B4-BE49-F238E27FC236}">
                <a16:creationId xmlns:a16="http://schemas.microsoft.com/office/drawing/2014/main" id="{DEFE44EB-CD09-43F7-AF07-B57E60E40BA9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1026" name="Object 3" hidden="1">
                        <a:extLst>
                          <a:ext uri="{FF2B5EF4-FFF2-40B4-BE49-F238E27FC236}">
                            <a16:creationId xmlns:a16="http://schemas.microsoft.com/office/drawing/2014/main" id="{DEFE44EB-CD09-43F7-AF07-B57E60E40B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2FEA4E74-B648-48A4-8BFB-1CE13B28B3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57200" y="346075"/>
            <a:ext cx="112807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IE" altLang="en-US"/>
          </a:p>
        </p:txBody>
      </p:sp>
      <p:sp>
        <p:nvSpPr>
          <p:cNvPr id="1030" name="Text Placeholder 18">
            <a:extLst>
              <a:ext uri="{FF2B5EF4-FFF2-40B4-BE49-F238E27FC236}">
                <a16:creationId xmlns:a16="http://schemas.microsoft.com/office/drawing/2014/main" id="{CFB1D9F5-9E42-4065-BAC4-2CAD83E505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60375" y="1714500"/>
            <a:ext cx="112776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IE" altLang="en-US"/>
          </a:p>
        </p:txBody>
      </p:sp>
      <p:sp>
        <p:nvSpPr>
          <p:cNvPr id="1032" name="TextBox 19">
            <a:extLst>
              <a:ext uri="{FF2B5EF4-FFF2-40B4-BE49-F238E27FC236}">
                <a16:creationId xmlns:a16="http://schemas.microsoft.com/office/drawing/2014/main" id="{2BE1B3F2-733B-4ADD-A1CD-7A659B260D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65588" y="700088"/>
            <a:ext cx="254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03200" indent="-203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altLang="en-US">
              <a:solidFill>
                <a:srgbClr val="313131"/>
              </a:solidFill>
              <a:latin typeface="Open Sans" panose="020B0606030504020204" pitchFamily="34" charset="0"/>
            </a:endParaRPr>
          </a:p>
        </p:txBody>
      </p:sp>
      <p:sp>
        <p:nvSpPr>
          <p:cNvPr id="1033" name="TextBox 21">
            <a:extLst>
              <a:ext uri="{FF2B5EF4-FFF2-40B4-BE49-F238E27FC236}">
                <a16:creationId xmlns:a16="http://schemas.microsoft.com/office/drawing/2014/main" id="{84B27E0A-BA18-430D-8B4C-0DD6C7BBAA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21175" y="803275"/>
            <a:ext cx="16732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03200" indent="-203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altLang="en-US">
              <a:solidFill>
                <a:srgbClr val="313131"/>
              </a:solidFill>
              <a:latin typeface="Open Sans" panose="020B0606030504020204" pitchFamily="34" charset="0"/>
            </a:endParaRPr>
          </a:p>
        </p:txBody>
      </p:sp>
      <p:sp>
        <p:nvSpPr>
          <p:cNvPr id="1034" name="TextBox 22">
            <a:extLst>
              <a:ext uri="{FF2B5EF4-FFF2-40B4-BE49-F238E27FC236}">
                <a16:creationId xmlns:a16="http://schemas.microsoft.com/office/drawing/2014/main" id="{340E5E8E-ADB4-4950-9285-DA777C0B98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70588" y="803275"/>
            <a:ext cx="2492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03200" indent="-203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altLang="en-US">
              <a:solidFill>
                <a:srgbClr val="313131"/>
              </a:solidFill>
              <a:latin typeface="Open Sans" panose="020B060603050402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F98CCDC3-4727-4307-96F9-3F1FC3444C59}"/>
              </a:ext>
            </a:extLst>
          </p:cNvPr>
          <p:cNvSpPr txBox="1"/>
          <p:nvPr userDrawn="1"/>
        </p:nvSpPr>
        <p:spPr>
          <a:xfrm>
            <a:off x="460375" y="6519863"/>
            <a:ext cx="535463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4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800" dirty="0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</a:rPr>
              <a:t>© 2024 Deloitte Ireland LLP. All rights reserv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5E4F43-5AF0-480D-A537-B07340C935F7}"/>
              </a:ext>
            </a:extLst>
          </p:cNvPr>
          <p:cNvSpPr txBox="1"/>
          <p:nvPr userDrawn="1"/>
        </p:nvSpPr>
        <p:spPr>
          <a:xfrm>
            <a:off x="11426825" y="6519863"/>
            <a:ext cx="307975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4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5CBACB3-0E04-4EF2-ADE2-D9C8306FC593}" type="slidenum">
              <a:rPr lang="en-US" sz="800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</a:rPr>
              <a:pPr algn="r" eaLnBrk="1" fontAlgn="auto" hangingPunct="1">
                <a:spcBef>
                  <a:spcPts val="4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800">
              <a:solidFill>
                <a:schemeClr val="tx1"/>
              </a:solidFill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291" r:id="rId6"/>
    <p:sldLayoutId id="2147484340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9" r:id="rId16"/>
    <p:sldLayoutId id="2147484040" r:id="rId17"/>
    <p:sldLayoutId id="2147484041" r:id="rId18"/>
    <p:sldLayoutId id="2147484063" r:id="rId19"/>
    <p:sldLayoutId id="2147484064" r:id="rId20"/>
    <p:sldLayoutId id="2147484297" r:id="rId21"/>
    <p:sldLayoutId id="2147484042" r:id="rId22"/>
    <p:sldLayoutId id="2147484043" r:id="rId23"/>
    <p:sldLayoutId id="2147484295" r:id="rId24"/>
    <p:sldLayoutId id="2147484294" r:id="rId25"/>
    <p:sldLayoutId id="2147484065" r:id="rId26"/>
    <p:sldLayoutId id="2147484046" r:id="rId27"/>
    <p:sldLayoutId id="2147484067" r:id="rId28"/>
    <p:sldLayoutId id="2147484068" r:id="rId29"/>
    <p:sldLayoutId id="2147484069" r:id="rId30"/>
    <p:sldLayoutId id="2147484212" r:id="rId31"/>
    <p:sldLayoutId id="2147484290" r:id="rId32"/>
    <p:sldLayoutId id="2147484338" r:id="rId33"/>
    <p:sldLayoutId id="2147484341" r:id="rId34"/>
    <p:sldLayoutId id="2147484343" r:id="rId35"/>
    <p:sldLayoutId id="2147484344" r:id="rId36"/>
  </p:sldLayoutIdLst>
  <p:transition>
    <p:fade/>
  </p:transition>
  <p:hf hdr="0" dt="0"/>
  <p:txStyles>
    <p:titleStyle>
      <a:lvl1pPr algn="l" defTabSz="685800" rtl="0" eaLnBrk="1" fontAlgn="base" hangingPunct="1">
        <a:spcBef>
          <a:spcPct val="0"/>
        </a:spcBef>
        <a:spcAft>
          <a:spcPct val="0"/>
        </a:spcAft>
        <a:defRPr sz="2100" kern="1200">
          <a:solidFill>
            <a:schemeClr val="tx1"/>
          </a:solidFill>
          <a:latin typeface="Open Sans" panose="020B0606030504020204" pitchFamily="34" charset="0"/>
          <a:ea typeface="+mj-ea"/>
          <a:cs typeface="Calibri Light" panose="020F0302020204030204" pitchFamily="34" charset="0"/>
        </a:defRPr>
      </a:lvl1pPr>
      <a:lvl2pPr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2pPr>
      <a:lvl3pPr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3pPr>
      <a:lvl4pPr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4pPr>
      <a:lvl5pPr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5pPr>
      <a:lvl6pPr marL="457200"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6pPr>
      <a:lvl7pPr marL="914400"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7pPr>
      <a:lvl8pPr marL="1371600"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8pPr>
      <a:lvl9pPr marL="1828800" algn="l" defTabSz="6858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Calibri" panose="020F0502020204030204" pitchFamily="34" charset="0"/>
          <a:cs typeface="Calibri Light" panose="020F0302020204030204" pitchFamily="34" charset="0"/>
        </a:defRPr>
      </a:lvl9pPr>
    </p:titleStyle>
    <p:bodyStyle>
      <a:lvl1pPr algn="l" defTabSz="685800" rtl="0" eaLnBrk="1" fontAlgn="base" hangingPunct="1">
        <a:spcBef>
          <a:spcPct val="0"/>
        </a:spcBef>
        <a:spcAft>
          <a:spcPts val="750"/>
        </a:spcAft>
        <a:buSzPct val="100000"/>
        <a:defRPr sz="1200" kern="1200">
          <a:solidFill>
            <a:schemeClr val="tx1"/>
          </a:solidFill>
          <a:latin typeface="Open Sans" panose="020B0606030504020204" pitchFamily="34" charset="0"/>
          <a:ea typeface="+mn-ea"/>
          <a:cs typeface="Calibri Light" panose="020F0302020204030204" pitchFamily="34" charset="0"/>
        </a:defRPr>
      </a:lvl1pPr>
      <a:lvl2pPr marL="104775" indent="-104775" algn="l" defTabSz="685800" rtl="0" eaLnBrk="1" fontAlgn="base" hangingPunct="1">
        <a:spcBef>
          <a:spcPct val="0"/>
        </a:spcBef>
        <a:spcAft>
          <a:spcPts val="750"/>
        </a:spcAft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Open Sans" panose="020B0606030504020204" pitchFamily="34" charset="0"/>
          <a:ea typeface="+mn-ea"/>
          <a:cs typeface="Calibri Light" panose="020F0302020204030204" pitchFamily="34" charset="0"/>
        </a:defRPr>
      </a:lvl2pPr>
      <a:lvl3pPr marL="228600" indent="-104775" algn="l" defTabSz="685800" rtl="0" eaLnBrk="1" fontAlgn="base" hangingPunct="1">
        <a:spcBef>
          <a:spcPct val="0"/>
        </a:spcBef>
        <a:spcAft>
          <a:spcPts val="750"/>
        </a:spcAft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Open Sans" panose="020B0606030504020204" pitchFamily="34" charset="0"/>
          <a:ea typeface="+mn-ea"/>
          <a:cs typeface="Calibri Light" panose="020F0302020204030204" pitchFamily="34" charset="0"/>
        </a:defRPr>
      </a:lvl3pPr>
      <a:lvl4pPr marL="352425" indent="-104775" algn="l" defTabSz="685800" rtl="0" eaLnBrk="1" fontAlgn="base" hangingPunct="1">
        <a:spcBef>
          <a:spcPct val="0"/>
        </a:spcBef>
        <a:spcAft>
          <a:spcPts val="750"/>
        </a:spcAft>
        <a:buSzPct val="100000"/>
        <a:buFont typeface="Arial" panose="020B0604020202020204" pitchFamily="34" charset="0"/>
        <a:buChar char="◦"/>
        <a:defRPr lang="en-US" sz="1200" kern="1200" dirty="0">
          <a:solidFill>
            <a:schemeClr val="tx1"/>
          </a:solidFill>
          <a:latin typeface="Open Sans" panose="020B0606030504020204" pitchFamily="34" charset="0"/>
          <a:ea typeface="+mn-ea"/>
          <a:cs typeface="Calibri Light" panose="020F0302020204030204" pitchFamily="34" charset="0"/>
        </a:defRPr>
      </a:lvl4pPr>
      <a:lvl5pPr marL="476250" indent="-104775" algn="l" defTabSz="598488" rtl="0" eaLnBrk="1" fontAlgn="base" hangingPunct="1">
        <a:spcBef>
          <a:spcPct val="0"/>
        </a:spcBef>
        <a:spcAft>
          <a:spcPts val="750"/>
        </a:spcAft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Open Sans" panose="020B0606030504020204" pitchFamily="34" charset="0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1075" userDrawn="1">
          <p15:clr>
            <a:srgbClr val="F26B43"/>
          </p15:clr>
        </p15:guide>
        <p15:guide id="5" pos="1190" userDrawn="1">
          <p15:clr>
            <a:srgbClr val="F26B43"/>
          </p15:clr>
        </p15:guide>
        <p15:guide id="6" pos="1977" userDrawn="1">
          <p15:clr>
            <a:srgbClr val="F26B43"/>
          </p15:clr>
        </p15:guide>
        <p15:guide id="7" pos="2092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2995" userDrawn="1">
          <p15:clr>
            <a:srgbClr val="F26B43"/>
          </p15:clr>
        </p15:guide>
        <p15:guide id="10" pos="3782" userDrawn="1">
          <p15:clr>
            <a:srgbClr val="F26B43"/>
          </p15:clr>
        </p15:guide>
        <p15:guide id="11" pos="3897" userDrawn="1">
          <p15:clr>
            <a:srgbClr val="F26B43"/>
          </p15:clr>
        </p15:guide>
        <p15:guide id="12" pos="4684" userDrawn="1">
          <p15:clr>
            <a:srgbClr val="F26B43"/>
          </p15:clr>
        </p15:guide>
        <p15:guide id="13" pos="4800" userDrawn="1">
          <p15:clr>
            <a:srgbClr val="F26B43"/>
          </p15:clr>
        </p15:guide>
        <p15:guide id="14" pos="5587" userDrawn="1">
          <p15:clr>
            <a:srgbClr val="F26B43"/>
          </p15:clr>
        </p15:guide>
        <p15:guide id="15" pos="5702" userDrawn="1">
          <p15:clr>
            <a:srgbClr val="F26B43"/>
          </p15:clr>
        </p15:guide>
        <p15:guide id="16" pos="6489" userDrawn="1">
          <p15:clr>
            <a:srgbClr val="F26B43"/>
          </p15:clr>
        </p15:guide>
        <p15:guide id="17" pos="6604" userDrawn="1">
          <p15:clr>
            <a:srgbClr val="F26B43"/>
          </p15:clr>
        </p15:guide>
        <p15:guide id="18" pos="7392" userDrawn="1">
          <p15:clr>
            <a:srgbClr val="F26B43"/>
          </p15:clr>
        </p15:guide>
        <p15:guide id="19" orient="horz" userDrawn="1">
          <p15:clr>
            <a:srgbClr val="F26B43"/>
          </p15:clr>
        </p15:guide>
        <p15:guide id="20" orient="horz" pos="4320" userDrawn="1">
          <p15:clr>
            <a:srgbClr val="F26B43"/>
          </p15:clr>
        </p15:guide>
        <p15:guide id="21" orient="horz" pos="172" userDrawn="1">
          <p15:clr>
            <a:srgbClr val="F26B43"/>
          </p15:clr>
        </p15:guide>
        <p15:guide id="22" orient="horz" pos="242" userDrawn="1">
          <p15:clr>
            <a:srgbClr val="F26B43"/>
          </p15:clr>
        </p15:guide>
        <p15:guide id="23" orient="horz" pos="818" userDrawn="1">
          <p15:clr>
            <a:srgbClr val="F26B43"/>
          </p15:clr>
        </p15:guide>
        <p15:guide id="24" orient="horz" pos="888" userDrawn="1">
          <p15:clr>
            <a:srgbClr val="F26B43"/>
          </p15:clr>
        </p15:guide>
        <p15:guide id="25" orient="horz" pos="1464" userDrawn="1">
          <p15:clr>
            <a:srgbClr val="F26B43"/>
          </p15:clr>
        </p15:guide>
        <p15:guide id="26" orient="horz" pos="1534" userDrawn="1">
          <p15:clr>
            <a:srgbClr val="F26B43"/>
          </p15:clr>
        </p15:guide>
        <p15:guide id="27" orient="horz" pos="2110" userDrawn="1">
          <p15:clr>
            <a:srgbClr val="F26B43"/>
          </p15:clr>
        </p15:guide>
        <p15:guide id="28" orient="horz" pos="2180" userDrawn="1">
          <p15:clr>
            <a:srgbClr val="F26B43"/>
          </p15:clr>
        </p15:guide>
        <p15:guide id="29" orient="horz" pos="2756" userDrawn="1">
          <p15:clr>
            <a:srgbClr val="F26B43"/>
          </p15:clr>
        </p15:guide>
        <p15:guide id="30" orient="horz" pos="2826" userDrawn="1">
          <p15:clr>
            <a:srgbClr val="F26B43"/>
          </p15:clr>
        </p15:guide>
        <p15:guide id="31" orient="horz" pos="3402" userDrawn="1">
          <p15:clr>
            <a:srgbClr val="F26B43"/>
          </p15:clr>
        </p15:guide>
        <p15:guide id="32" orient="horz" pos="3472" userDrawn="1">
          <p15:clr>
            <a:srgbClr val="F26B43"/>
          </p15:clr>
        </p15:guide>
        <p15:guide id="33" orient="horz" pos="4048" userDrawn="1">
          <p15:clr>
            <a:srgbClr val="F26B43"/>
          </p15:clr>
        </p15:guide>
        <p15:guide id="34" orient="horz" pos="41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6.xml"/><Relationship Id="rId6" Type="http://schemas.openxmlformats.org/officeDocument/2006/relationships/image" Target="../media/image3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8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294933-1B82-0830-1989-26C03249F5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628" r="17868"/>
          <a:stretch/>
        </p:blipFill>
        <p:spPr>
          <a:xfrm>
            <a:off x="2933700" y="368924"/>
            <a:ext cx="6324600" cy="5713268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DE5B9CEA-5E73-4E22-8C75-E8D43059FF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Deloitte Internship </a:t>
            </a:r>
            <a:br>
              <a:rPr lang="en-US" sz="3600" dirty="0"/>
            </a:br>
            <a:r>
              <a:rPr lang="en-US" sz="3600" dirty="0"/>
              <a:t>Progress Updat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22672E0-7693-4B5C-8331-DE3495FB6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ur Syazwani Binti Samsawi | 2022876358</a:t>
            </a:r>
          </a:p>
        </p:txBody>
      </p:sp>
      <p:pic>
        <p:nvPicPr>
          <p:cNvPr id="8" name="Picture 7" descr="Deloitte Heritage Seal - MAKING AN IMPACT THAT MATTERS SINCE 1845">
            <a:extLst>
              <a:ext uri="{FF2B5EF4-FFF2-40B4-BE49-F238E27FC236}">
                <a16:creationId xmlns:a16="http://schemas.microsoft.com/office/drawing/2014/main" id="{359138ED-0968-4032-A810-5D84ED6F3B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703187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60BE3-DCAE-7F3B-633A-B2F00B8CF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856C2E4-D509-729E-9E99-83239F84DB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56C2E4-D509-729E-9E99-83239F84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144ECBF-9A30-45B7-7FEE-3E66F1B93A1D}"/>
              </a:ext>
            </a:extLst>
          </p:cNvPr>
          <p:cNvSpPr txBox="1">
            <a:spLocks/>
          </p:cNvSpPr>
          <p:nvPr/>
        </p:nvSpPr>
        <p:spPr>
          <a:xfrm>
            <a:off x="369080" y="687992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chemeClr val="tx2">
                    <a:lumMod val="90000"/>
                  </a:schemeClr>
                </a:solidFill>
              </a:rPr>
              <a:t>Dashboard (Home)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2407B609-3B6B-CA62-78D4-F5AE530A3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45992"/>
            <a:ext cx="11304000" cy="342000"/>
          </a:xfrm>
        </p:spPr>
        <p:txBody>
          <a:bodyPr/>
          <a:lstStyle/>
          <a:p>
            <a:r>
              <a:rPr lang="en-US" sz="2400"/>
              <a:t>User Side</a:t>
            </a:r>
            <a:endParaRPr lang="en-US" sz="2400" noProof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623B93-BDDC-C273-171F-038306A0CC8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9941" r="50000"/>
          <a:stretch/>
        </p:blipFill>
        <p:spPr>
          <a:xfrm>
            <a:off x="0" y="1884938"/>
            <a:ext cx="6096000" cy="308812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5446EA8-C5D4-B3DC-C678-9327FE92526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9941" r="50000"/>
          <a:stretch/>
        </p:blipFill>
        <p:spPr>
          <a:xfrm>
            <a:off x="6096000" y="1884938"/>
            <a:ext cx="6096000" cy="3088124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AF473B6-4249-B448-2DB2-E2F6D9BFE897}"/>
              </a:ext>
            </a:extLst>
          </p:cNvPr>
          <p:cNvSpPr/>
          <p:nvPr/>
        </p:nvSpPr>
        <p:spPr bwMode="gray">
          <a:xfrm>
            <a:off x="1772156" y="1234854"/>
            <a:ext cx="1812616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Navigation Bar with notification bell and profile badge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F1F75AC-7B68-7BD1-B273-A240D28597ED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2678464" y="1655640"/>
            <a:ext cx="0" cy="439691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49FB294-6E2B-A74C-A39F-C686E0660ECC}"/>
              </a:ext>
            </a:extLst>
          </p:cNvPr>
          <p:cNvSpPr/>
          <p:nvPr/>
        </p:nvSpPr>
        <p:spPr bwMode="gray">
          <a:xfrm>
            <a:off x="4667756" y="1234854"/>
            <a:ext cx="1731695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Notification bell. Onclick: dropdown notifications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F1AAFCB-B155-46A4-DDD6-7D02302366E5}"/>
              </a:ext>
            </a:extLst>
          </p:cNvPr>
          <p:cNvCxnSpPr>
            <a:cxnSpLocks/>
            <a:stCxn id="29" idx="2"/>
          </p:cNvCxnSpPr>
          <p:nvPr/>
        </p:nvCxnSpPr>
        <p:spPr>
          <a:xfrm>
            <a:off x="5533604" y="1655640"/>
            <a:ext cx="0" cy="286448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3BC851C-43A4-F76E-E8B8-CF814BE7436C}"/>
              </a:ext>
            </a:extLst>
          </p:cNvPr>
          <p:cNvSpPr/>
          <p:nvPr/>
        </p:nvSpPr>
        <p:spPr bwMode="gray">
          <a:xfrm>
            <a:off x="640786" y="5212323"/>
            <a:ext cx="1731695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Make new ticket. Onclick: direct to </a:t>
            </a:r>
            <a:r>
              <a:rPr lang="en-US" sz="900" b="1">
                <a:solidFill>
                  <a:srgbClr val="43B02A"/>
                </a:solidFill>
              </a:rPr>
              <a:t>“Make Ticket” </a:t>
            </a:r>
            <a:r>
              <a:rPr lang="en-US" sz="900" b="1"/>
              <a:t>page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14552A13-AF46-8788-ACDD-A3B12DE02032}"/>
              </a:ext>
            </a:extLst>
          </p:cNvPr>
          <p:cNvSpPr/>
          <p:nvPr/>
        </p:nvSpPr>
        <p:spPr bwMode="gray">
          <a:xfrm>
            <a:off x="8080310" y="5202360"/>
            <a:ext cx="2164701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List of active tickets. Onclick: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direct to the ticket’s </a:t>
            </a:r>
            <a:r>
              <a:rPr lang="en-US" sz="900" b="1">
                <a:solidFill>
                  <a:srgbClr val="62B5E5"/>
                </a:solidFill>
              </a:rPr>
              <a:t>“Track Status” </a:t>
            </a:r>
            <a:r>
              <a:rPr lang="en-US" sz="900" b="1"/>
              <a:t>page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7B6F301-584F-9AB1-8C22-DFA381038E77}"/>
              </a:ext>
            </a:extLst>
          </p:cNvPr>
          <p:cNvCxnSpPr>
            <a:cxnSpLocks/>
            <a:stCxn id="42" idx="0"/>
          </p:cNvCxnSpPr>
          <p:nvPr/>
        </p:nvCxnSpPr>
        <p:spPr>
          <a:xfrm flipH="1" flipV="1">
            <a:off x="9162660" y="4781574"/>
            <a:ext cx="1" cy="420786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1CF2E3D-FF34-7D6C-34F6-6160B15F568A}"/>
              </a:ext>
            </a:extLst>
          </p:cNvPr>
          <p:cNvCxnSpPr>
            <a:cxnSpLocks/>
          </p:cNvCxnSpPr>
          <p:nvPr/>
        </p:nvCxnSpPr>
        <p:spPr>
          <a:xfrm flipV="1">
            <a:off x="8784334" y="4091576"/>
            <a:ext cx="0" cy="1120747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EB34C427-4C68-752B-6FE6-BE7D78CA24BE}"/>
              </a:ext>
            </a:extLst>
          </p:cNvPr>
          <p:cNvSpPr/>
          <p:nvPr/>
        </p:nvSpPr>
        <p:spPr bwMode="gray">
          <a:xfrm>
            <a:off x="7265299" y="1234854"/>
            <a:ext cx="1731695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Track Status button. Onclick: dropdown list of active tickets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E8022847-1CD0-9289-A961-73D20B44CF02}"/>
              </a:ext>
            </a:extLst>
          </p:cNvPr>
          <p:cNvSpPr/>
          <p:nvPr/>
        </p:nvSpPr>
        <p:spPr bwMode="gray">
          <a:xfrm>
            <a:off x="9909244" y="1234854"/>
            <a:ext cx="2137100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Profile badge. Onclick: dropdown link to </a:t>
            </a:r>
            <a:r>
              <a:rPr lang="en-US" sz="900" b="1">
                <a:solidFill>
                  <a:srgbClr val="ED8B00"/>
                </a:solidFill>
              </a:rPr>
              <a:t>“Your Profile” </a:t>
            </a:r>
            <a:r>
              <a:rPr lang="en-US" sz="900" b="1"/>
              <a:t>page and sign out button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8BEE6F89-608A-9618-0664-3F2ED6BBCD0E}"/>
              </a:ext>
            </a:extLst>
          </p:cNvPr>
          <p:cNvCxnSpPr>
            <a:cxnSpLocks/>
          </p:cNvCxnSpPr>
          <p:nvPr/>
        </p:nvCxnSpPr>
        <p:spPr>
          <a:xfrm flipH="1">
            <a:off x="11860226" y="1655640"/>
            <a:ext cx="1" cy="336469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BDE278B6-E9CD-F701-C0EE-F2A4B934C931}"/>
              </a:ext>
            </a:extLst>
          </p:cNvPr>
          <p:cNvCxnSpPr>
            <a:cxnSpLocks/>
            <a:stCxn id="53" idx="3"/>
          </p:cNvCxnSpPr>
          <p:nvPr/>
        </p:nvCxnSpPr>
        <p:spPr>
          <a:xfrm>
            <a:off x="8996994" y="1445247"/>
            <a:ext cx="1349468" cy="597618"/>
          </a:xfrm>
          <a:prstGeom prst="bentConnector3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EC5A96AC-6039-C85B-8771-42B211036E8A}"/>
              </a:ext>
            </a:extLst>
          </p:cNvPr>
          <p:cNvCxnSpPr>
            <a:cxnSpLocks/>
            <a:stCxn id="37" idx="0"/>
          </p:cNvCxnSpPr>
          <p:nvPr/>
        </p:nvCxnSpPr>
        <p:spPr>
          <a:xfrm rot="5400000" flipH="1" flipV="1">
            <a:off x="2198809" y="2788610"/>
            <a:ext cx="1731538" cy="3115888"/>
          </a:xfrm>
          <a:prstGeom prst="bentConnector2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704F8176-82CA-E649-052A-BBCB1E27F26C}"/>
              </a:ext>
            </a:extLst>
          </p:cNvPr>
          <p:cNvCxnSpPr>
            <a:cxnSpLocks/>
            <a:stCxn id="42" idx="3"/>
          </p:cNvCxnSpPr>
          <p:nvPr/>
        </p:nvCxnSpPr>
        <p:spPr>
          <a:xfrm flipV="1">
            <a:off x="10245011" y="3828422"/>
            <a:ext cx="285662" cy="1584331"/>
          </a:xfrm>
          <a:prstGeom prst="bentConnector2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771E9556-918A-F084-0DAD-4F39EC84931B}"/>
              </a:ext>
            </a:extLst>
          </p:cNvPr>
          <p:cNvSpPr/>
          <p:nvPr/>
        </p:nvSpPr>
        <p:spPr bwMode="gray">
          <a:xfrm>
            <a:off x="247699" y="389842"/>
            <a:ext cx="80921" cy="59630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tx2">
                  <a:lumMod val="90000"/>
                </a:schemeClr>
              </a:solidFill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383D1E3B-1F30-FAE2-92D8-076A02AD9684}"/>
              </a:ext>
            </a:extLst>
          </p:cNvPr>
          <p:cNvSpPr/>
          <p:nvPr/>
        </p:nvSpPr>
        <p:spPr bwMode="gray">
          <a:xfrm>
            <a:off x="4356792" y="5212323"/>
            <a:ext cx="2164700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Notifications. Onclick: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direct to the ticket’s </a:t>
            </a:r>
            <a:r>
              <a:rPr lang="en-US" sz="900" b="1">
                <a:solidFill>
                  <a:srgbClr val="62B5E5"/>
                </a:solidFill>
              </a:rPr>
              <a:t>“Track Status” </a:t>
            </a:r>
            <a:r>
              <a:rPr lang="en-US" sz="900" b="1"/>
              <a:t>page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3B477DA-227A-B8FD-BCBC-0C0BEB6AC6BF}"/>
              </a:ext>
            </a:extLst>
          </p:cNvPr>
          <p:cNvCxnSpPr>
            <a:cxnSpLocks/>
            <a:stCxn id="81" idx="0"/>
          </p:cNvCxnSpPr>
          <p:nvPr/>
        </p:nvCxnSpPr>
        <p:spPr>
          <a:xfrm flipV="1">
            <a:off x="5439142" y="2595071"/>
            <a:ext cx="0" cy="2617252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36891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29C6BC-9413-D069-148F-20C8B60276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D391F2F-4C38-3388-94DA-119939C08C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5" progId="TCLayout.ActiveDocument.1">
                  <p:embed/>
                </p:oleObj>
              </mc:Choice>
              <mc:Fallback>
                <p:oleObj name="think-cell Slide" r:id="rId4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391F2F-4C38-3388-94DA-119939C08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E9D2090B-AAD9-9F1E-E705-94DDA1453C8E}"/>
              </a:ext>
            </a:extLst>
          </p:cNvPr>
          <p:cNvSpPr txBox="1">
            <a:spLocks/>
          </p:cNvSpPr>
          <p:nvPr/>
        </p:nvSpPr>
        <p:spPr>
          <a:xfrm>
            <a:off x="369080" y="687992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43B02A"/>
                </a:solidFill>
              </a:rPr>
              <a:t>Make Ticket</a:t>
            </a:r>
          </a:p>
        </p:txBody>
      </p:sp>
      <p:sp>
        <p:nvSpPr>
          <p:cNvPr id="4" name="Title 9">
            <a:extLst>
              <a:ext uri="{FF2B5EF4-FFF2-40B4-BE49-F238E27FC236}">
                <a16:creationId xmlns:a16="http://schemas.microsoft.com/office/drawing/2014/main" id="{378452A8-55D7-601B-EF3E-3E75BA60D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45992"/>
            <a:ext cx="11304000" cy="342000"/>
          </a:xfrm>
        </p:spPr>
        <p:txBody>
          <a:bodyPr/>
          <a:lstStyle/>
          <a:p>
            <a:r>
              <a:rPr lang="en-US" sz="2400"/>
              <a:t>User Side</a:t>
            </a:r>
            <a:endParaRPr lang="en-US" sz="2400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ABFE97-E6BD-A452-D2F7-9DE4F94B8D5A}"/>
              </a:ext>
            </a:extLst>
          </p:cNvPr>
          <p:cNvSpPr/>
          <p:nvPr/>
        </p:nvSpPr>
        <p:spPr bwMode="gray">
          <a:xfrm>
            <a:off x="247699" y="389842"/>
            <a:ext cx="80921" cy="596300"/>
          </a:xfrm>
          <a:prstGeom prst="rect">
            <a:avLst/>
          </a:prstGeom>
          <a:solidFill>
            <a:srgbClr val="43B02A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rgbClr val="43B02A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A983DF5-1511-6736-4D02-430CD610BEB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0680" r="50000"/>
          <a:stretch/>
        </p:blipFill>
        <p:spPr>
          <a:xfrm>
            <a:off x="0" y="1897613"/>
            <a:ext cx="6096000" cy="306277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5617B42-2A63-CCFF-310A-F13C344092D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0680" r="50000"/>
          <a:stretch/>
        </p:blipFill>
        <p:spPr>
          <a:xfrm>
            <a:off x="6096000" y="1897613"/>
            <a:ext cx="6096000" cy="3062774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C5B40D-E8AB-818A-10CA-C794F84BFDDC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2924033" y="1655640"/>
            <a:ext cx="0" cy="1115552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EFC1399-C3AC-4B51-8B9B-0FAA2FA16F6B}"/>
              </a:ext>
            </a:extLst>
          </p:cNvPr>
          <p:cNvSpPr/>
          <p:nvPr/>
        </p:nvSpPr>
        <p:spPr bwMode="gray">
          <a:xfrm>
            <a:off x="2059837" y="1234854"/>
            <a:ext cx="1728392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Form to create new ticket.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All fields set to required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40321DB-3C7D-B385-BBD3-0D8ACF7C9D3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3523" t="26173" r="64284" b="16671"/>
          <a:stretch/>
        </p:blipFill>
        <p:spPr>
          <a:xfrm>
            <a:off x="4668141" y="3911999"/>
            <a:ext cx="2705878" cy="19598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endPos="0" dist="5000" dir="5400000" sy="-100000" algn="bl" rotWithShape="0"/>
          </a:effectLst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B64E231-E095-FA60-DEE1-CC01456D4DA5}"/>
              </a:ext>
            </a:extLst>
          </p:cNvPr>
          <p:cNvSpPr/>
          <p:nvPr/>
        </p:nvSpPr>
        <p:spPr bwMode="gray">
          <a:xfrm>
            <a:off x="9110673" y="1234854"/>
            <a:ext cx="2926612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Submit ticket button. Onclick :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Insert new ticket to Database and display “success alert”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C3A2ED1-5CD9-4275-7319-E1DB9AC672C7}"/>
              </a:ext>
            </a:extLst>
          </p:cNvPr>
          <p:cNvCxnSpPr>
            <a:cxnSpLocks/>
            <a:stCxn id="30" idx="2"/>
          </p:cNvCxnSpPr>
          <p:nvPr/>
        </p:nvCxnSpPr>
        <p:spPr>
          <a:xfrm>
            <a:off x="10573979" y="1655640"/>
            <a:ext cx="0" cy="2829171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CBEEDC8-2866-F618-7786-C150450547DA}"/>
              </a:ext>
            </a:extLst>
          </p:cNvPr>
          <p:cNvSpPr/>
          <p:nvPr/>
        </p:nvSpPr>
        <p:spPr bwMode="gray">
          <a:xfrm>
            <a:off x="7866587" y="5119499"/>
            <a:ext cx="2117168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Success alert after ticket Submission. “Okay” button Onclick: direct user to </a:t>
            </a:r>
            <a:r>
              <a:rPr lang="en-US" sz="900" b="1">
                <a:solidFill>
                  <a:schemeClr val="tx2">
                    <a:lumMod val="90000"/>
                  </a:schemeClr>
                </a:solidFill>
              </a:rPr>
              <a:t>“Home” </a:t>
            </a:r>
            <a:r>
              <a:rPr lang="en-US" sz="900" b="1"/>
              <a:t>page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3E8B69F-A9C9-E3D7-E79D-33B144B6B7A2}"/>
              </a:ext>
            </a:extLst>
          </p:cNvPr>
          <p:cNvCxnSpPr>
            <a:cxnSpLocks/>
            <a:stCxn id="39" idx="1"/>
          </p:cNvCxnSpPr>
          <p:nvPr/>
        </p:nvCxnSpPr>
        <p:spPr>
          <a:xfrm flipH="1">
            <a:off x="7374019" y="5329892"/>
            <a:ext cx="492568" cy="0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69991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A4EE85-F6F9-3CFE-4D22-35BBC29DD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A5F7868-E1C9-1DF0-FC3E-E939CD497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5F7868-E1C9-1DF0-FC3E-E939CD497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2850525-7A97-5749-C556-8D4CDE49D8D7}"/>
              </a:ext>
            </a:extLst>
          </p:cNvPr>
          <p:cNvSpPr txBox="1">
            <a:spLocks/>
          </p:cNvSpPr>
          <p:nvPr/>
        </p:nvSpPr>
        <p:spPr>
          <a:xfrm>
            <a:off x="369080" y="687992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62B5E5"/>
                </a:solidFill>
              </a:rPr>
              <a:t>Track Status</a:t>
            </a:r>
          </a:p>
        </p:txBody>
      </p:sp>
      <p:sp>
        <p:nvSpPr>
          <p:cNvPr id="4" name="Title 9">
            <a:extLst>
              <a:ext uri="{FF2B5EF4-FFF2-40B4-BE49-F238E27FC236}">
                <a16:creationId xmlns:a16="http://schemas.microsoft.com/office/drawing/2014/main" id="{8424B5AA-CA92-6A7B-285A-5CE9B5E71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45992"/>
            <a:ext cx="11304000" cy="342000"/>
          </a:xfrm>
        </p:spPr>
        <p:txBody>
          <a:bodyPr/>
          <a:lstStyle/>
          <a:p>
            <a:r>
              <a:rPr lang="en-US" sz="2400"/>
              <a:t>User Side</a:t>
            </a:r>
            <a:endParaRPr lang="en-US" sz="2400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BC4E5E-D9CE-E2F4-451C-173142FD5393}"/>
              </a:ext>
            </a:extLst>
          </p:cNvPr>
          <p:cNvSpPr/>
          <p:nvPr/>
        </p:nvSpPr>
        <p:spPr bwMode="gray">
          <a:xfrm>
            <a:off x="247699" y="389842"/>
            <a:ext cx="80921" cy="596300"/>
          </a:xfrm>
          <a:prstGeom prst="rect">
            <a:avLst/>
          </a:prstGeom>
          <a:solidFill>
            <a:srgbClr val="62B5E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rgbClr val="62B5E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F9D24C-3753-2FCF-69E4-A2A00876DAF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680" r="50000"/>
          <a:stretch/>
        </p:blipFill>
        <p:spPr>
          <a:xfrm>
            <a:off x="0" y="1897613"/>
            <a:ext cx="6096000" cy="30627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17441F-D737-2C7B-703D-1E526686DAF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0680" r="50000"/>
          <a:stretch/>
        </p:blipFill>
        <p:spPr>
          <a:xfrm>
            <a:off x="6096000" y="1897612"/>
            <a:ext cx="6096000" cy="3062774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F0E0E87-DFEA-92A9-3525-886687CED551}"/>
              </a:ext>
            </a:extLst>
          </p:cNvPr>
          <p:cNvCxnSpPr>
            <a:cxnSpLocks/>
            <a:stCxn id="13" idx="2"/>
          </p:cNvCxnSpPr>
          <p:nvPr/>
        </p:nvCxnSpPr>
        <p:spPr>
          <a:xfrm>
            <a:off x="1579740" y="1652271"/>
            <a:ext cx="0" cy="1115552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B9266AC-1497-608D-8324-8536B186A6B3}"/>
              </a:ext>
            </a:extLst>
          </p:cNvPr>
          <p:cNvSpPr/>
          <p:nvPr/>
        </p:nvSpPr>
        <p:spPr bwMode="gray">
          <a:xfrm>
            <a:off x="715544" y="1231485"/>
            <a:ext cx="1728392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Ticket Details. Onclick: toggle expand container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0A2BC8F-1C9B-EC09-0819-72B3AE593434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3857755" y="1656960"/>
            <a:ext cx="0" cy="1115552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86928DF-A248-FD16-069F-FD3BD621F312}"/>
              </a:ext>
            </a:extLst>
          </p:cNvPr>
          <p:cNvSpPr/>
          <p:nvPr/>
        </p:nvSpPr>
        <p:spPr bwMode="gray">
          <a:xfrm>
            <a:off x="2993559" y="1236174"/>
            <a:ext cx="1728392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Ticket current Statu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14661E8-8BF2-007F-05AD-D87F82603329}"/>
              </a:ext>
            </a:extLst>
          </p:cNvPr>
          <p:cNvSpPr/>
          <p:nvPr/>
        </p:nvSpPr>
        <p:spPr bwMode="gray">
          <a:xfrm>
            <a:off x="3569321" y="5302741"/>
            <a:ext cx="1728392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Ticket status timelin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 (Track status)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10B1EE4-7EDE-742B-F73F-132FA5955173}"/>
              </a:ext>
            </a:extLst>
          </p:cNvPr>
          <p:cNvCxnSpPr>
            <a:cxnSpLocks/>
            <a:stCxn id="17" idx="0"/>
          </p:cNvCxnSpPr>
          <p:nvPr/>
        </p:nvCxnSpPr>
        <p:spPr>
          <a:xfrm flipV="1">
            <a:off x="4433517" y="4180114"/>
            <a:ext cx="0" cy="1122627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05F48C3-AA31-4452-F821-91C1217F58C8}"/>
              </a:ext>
            </a:extLst>
          </p:cNvPr>
          <p:cNvSpPr/>
          <p:nvPr/>
        </p:nvSpPr>
        <p:spPr bwMode="gray">
          <a:xfrm>
            <a:off x="8795577" y="5302741"/>
            <a:ext cx="2740247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Message input field and “send” button.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Onclick “send” button: insert message to database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C03A9A2-4889-5C7C-77EB-45B51086EFFB}"/>
              </a:ext>
            </a:extLst>
          </p:cNvPr>
          <p:cNvCxnSpPr>
            <a:cxnSpLocks/>
            <a:stCxn id="22" idx="0"/>
          </p:cNvCxnSpPr>
          <p:nvPr/>
        </p:nvCxnSpPr>
        <p:spPr>
          <a:xfrm flipV="1">
            <a:off x="10165701" y="4693298"/>
            <a:ext cx="1" cy="609443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5F043F2-0CC3-A3C5-2976-157B4C5019D7}"/>
              </a:ext>
            </a:extLst>
          </p:cNvPr>
          <p:cNvCxnSpPr>
            <a:cxnSpLocks/>
            <a:stCxn id="30" idx="2"/>
          </p:cNvCxnSpPr>
          <p:nvPr/>
        </p:nvCxnSpPr>
        <p:spPr>
          <a:xfrm>
            <a:off x="10165701" y="1655640"/>
            <a:ext cx="1" cy="2048613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92FBCC4-7E23-3743-72C3-15BAAFA1040C}"/>
              </a:ext>
            </a:extLst>
          </p:cNvPr>
          <p:cNvSpPr/>
          <p:nvPr/>
        </p:nvSpPr>
        <p:spPr bwMode="gray">
          <a:xfrm>
            <a:off x="9116007" y="1234854"/>
            <a:ext cx="2099387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Message from assigned agent and the user will appear in timeline</a:t>
            </a:r>
          </a:p>
        </p:txBody>
      </p:sp>
    </p:spTree>
    <p:extLst>
      <p:ext uri="{BB962C8B-B14F-4D97-AF65-F5344CB8AC3E}">
        <p14:creationId xmlns:p14="http://schemas.microsoft.com/office/powerpoint/2010/main" val="138863915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F797D5-77AB-59B1-2433-CFFA973B20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90BBA6-F264-A11F-1896-FBA04082E0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90BBA6-F264-A11F-1896-FBA04082E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78E972D7-03B2-A016-452B-0C23A661FBDB}"/>
              </a:ext>
            </a:extLst>
          </p:cNvPr>
          <p:cNvSpPr txBox="1">
            <a:spLocks/>
          </p:cNvSpPr>
          <p:nvPr/>
        </p:nvSpPr>
        <p:spPr>
          <a:xfrm>
            <a:off x="369080" y="687992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DA291C"/>
                </a:solidFill>
              </a:rPr>
              <a:t>Ticket History</a:t>
            </a:r>
          </a:p>
        </p:txBody>
      </p:sp>
      <p:sp>
        <p:nvSpPr>
          <p:cNvPr id="4" name="Title 9">
            <a:extLst>
              <a:ext uri="{FF2B5EF4-FFF2-40B4-BE49-F238E27FC236}">
                <a16:creationId xmlns:a16="http://schemas.microsoft.com/office/drawing/2014/main" id="{35ACC1C2-36AA-9DCF-9C41-B0B8307E2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45992"/>
            <a:ext cx="11304000" cy="342000"/>
          </a:xfrm>
        </p:spPr>
        <p:txBody>
          <a:bodyPr/>
          <a:lstStyle/>
          <a:p>
            <a:r>
              <a:rPr lang="en-US" sz="2400"/>
              <a:t>User Side</a:t>
            </a:r>
            <a:endParaRPr lang="en-US" sz="2400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995988-2BF3-E32F-6EF9-6C89FEB116C2}"/>
              </a:ext>
            </a:extLst>
          </p:cNvPr>
          <p:cNvSpPr/>
          <p:nvPr/>
        </p:nvSpPr>
        <p:spPr bwMode="gray">
          <a:xfrm>
            <a:off x="247699" y="389842"/>
            <a:ext cx="80921" cy="596300"/>
          </a:xfrm>
          <a:prstGeom prst="rect">
            <a:avLst/>
          </a:prstGeom>
          <a:solidFill>
            <a:srgbClr val="DA291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rgbClr val="00ABAB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1C3445-C80D-D0DC-4235-22969540DBE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680" r="50000"/>
          <a:stretch/>
        </p:blipFill>
        <p:spPr>
          <a:xfrm>
            <a:off x="6096001" y="1897613"/>
            <a:ext cx="6096000" cy="30627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82C0C7-267D-C693-BC85-76A9A42DF78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0680" r="50000"/>
          <a:stretch/>
        </p:blipFill>
        <p:spPr>
          <a:xfrm>
            <a:off x="1" y="1897614"/>
            <a:ext cx="6096000" cy="3062773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EFADC82-65ED-6572-C0BA-8F4BA361A148}"/>
              </a:ext>
            </a:extLst>
          </p:cNvPr>
          <p:cNvSpPr/>
          <p:nvPr/>
        </p:nvSpPr>
        <p:spPr bwMode="gray">
          <a:xfrm>
            <a:off x="1796143" y="1231485"/>
            <a:ext cx="2503714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List of closed tickets. Onclick: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direct to the closed ticket’s </a:t>
            </a:r>
            <a:r>
              <a:rPr lang="en-US" sz="900" b="1">
                <a:solidFill>
                  <a:srgbClr val="62B5E5"/>
                </a:solidFill>
              </a:rPr>
              <a:t>“Track Status” </a:t>
            </a:r>
            <a:r>
              <a:rPr lang="en-US" sz="900" b="1"/>
              <a:t>pag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5365E1A-D459-85EC-9245-E819874EEEB3}"/>
              </a:ext>
            </a:extLst>
          </p:cNvPr>
          <p:cNvCxnSpPr>
            <a:cxnSpLocks/>
            <a:stCxn id="12" idx="2"/>
          </p:cNvCxnSpPr>
          <p:nvPr/>
        </p:nvCxnSpPr>
        <p:spPr>
          <a:xfrm>
            <a:off x="3048000" y="1652271"/>
            <a:ext cx="0" cy="1268211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02B2E63-1145-7DEE-C0E5-7D86ADCE2AB9}"/>
              </a:ext>
            </a:extLst>
          </p:cNvPr>
          <p:cNvSpPr/>
          <p:nvPr/>
        </p:nvSpPr>
        <p:spPr bwMode="gray">
          <a:xfrm>
            <a:off x="8795577" y="5302741"/>
            <a:ext cx="2740247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In “closed” tickets’ “Track Status” page,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the difference is the Message input field and “send” button is unavailable.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1B5728D-A505-2917-A031-4F33E31A799E}"/>
              </a:ext>
            </a:extLst>
          </p:cNvPr>
          <p:cNvCxnSpPr>
            <a:cxnSpLocks/>
            <a:stCxn id="17" idx="0"/>
          </p:cNvCxnSpPr>
          <p:nvPr/>
        </p:nvCxnSpPr>
        <p:spPr>
          <a:xfrm flipV="1">
            <a:off x="10165701" y="4693298"/>
            <a:ext cx="1" cy="609443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68215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6FA335-ADF1-9313-1D12-C13D5C645C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E2DDA1B-22AF-9296-9E41-154BED8AF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2DDA1B-22AF-9296-9E41-154BED8AF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72E59504-896A-7775-E8AE-BD5AAA51A93B}"/>
              </a:ext>
            </a:extLst>
          </p:cNvPr>
          <p:cNvSpPr txBox="1">
            <a:spLocks/>
          </p:cNvSpPr>
          <p:nvPr/>
        </p:nvSpPr>
        <p:spPr>
          <a:xfrm>
            <a:off x="369080" y="687992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ED8B00"/>
                </a:solidFill>
              </a:rPr>
              <a:t>Your Profile</a:t>
            </a:r>
          </a:p>
        </p:txBody>
      </p:sp>
      <p:sp>
        <p:nvSpPr>
          <p:cNvPr id="4" name="Title 9">
            <a:extLst>
              <a:ext uri="{FF2B5EF4-FFF2-40B4-BE49-F238E27FC236}">
                <a16:creationId xmlns:a16="http://schemas.microsoft.com/office/drawing/2014/main" id="{F2FB2C8A-069E-76D0-D2CB-064542EDD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45992"/>
            <a:ext cx="11304000" cy="342000"/>
          </a:xfrm>
        </p:spPr>
        <p:txBody>
          <a:bodyPr/>
          <a:lstStyle/>
          <a:p>
            <a:r>
              <a:rPr lang="en-US" sz="2400"/>
              <a:t>User Side</a:t>
            </a:r>
            <a:endParaRPr lang="en-US" sz="2400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80234F-5546-920E-A864-AB1DCF21FAEE}"/>
              </a:ext>
            </a:extLst>
          </p:cNvPr>
          <p:cNvSpPr/>
          <p:nvPr/>
        </p:nvSpPr>
        <p:spPr bwMode="gray">
          <a:xfrm>
            <a:off x="247699" y="389842"/>
            <a:ext cx="80921" cy="596300"/>
          </a:xfrm>
          <a:prstGeom prst="rec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rgbClr val="DA291C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A5B41D-5D84-01EF-52A9-34E52F3B8E3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680" r="50000"/>
          <a:stretch/>
        </p:blipFill>
        <p:spPr>
          <a:xfrm>
            <a:off x="0" y="1897613"/>
            <a:ext cx="6096000" cy="30627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D4A29D3-5878-3213-A366-1059718476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0680" r="50000"/>
          <a:stretch/>
        </p:blipFill>
        <p:spPr>
          <a:xfrm>
            <a:off x="6096000" y="1897613"/>
            <a:ext cx="6096000" cy="30627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DACB8BA-DDB0-CD5E-8C26-2AD502B21C5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3271" t="27538" r="64536" b="15306"/>
          <a:stretch/>
        </p:blipFill>
        <p:spPr>
          <a:xfrm>
            <a:off x="4668142" y="3911999"/>
            <a:ext cx="2705878" cy="19598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endPos="0" dist="5000" dir="5400000" sy="-100000" algn="bl" rotWithShape="0"/>
          </a:effec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1175DE7-685F-4946-1A85-ADB86327B122}"/>
              </a:ext>
            </a:extLst>
          </p:cNvPr>
          <p:cNvCxnSpPr>
            <a:cxnSpLocks/>
            <a:stCxn id="12" idx="2"/>
          </p:cNvCxnSpPr>
          <p:nvPr/>
        </p:nvCxnSpPr>
        <p:spPr>
          <a:xfrm>
            <a:off x="3073322" y="1671430"/>
            <a:ext cx="0" cy="1143544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4C5776B-51D6-9A25-C92E-FFABD4E8DC5C}"/>
              </a:ext>
            </a:extLst>
          </p:cNvPr>
          <p:cNvSpPr/>
          <p:nvPr/>
        </p:nvSpPr>
        <p:spPr bwMode="gray">
          <a:xfrm>
            <a:off x="2181134" y="1250644"/>
            <a:ext cx="1784375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Form to edit user details. (avatar, username and bio only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68C2BB6-E801-0682-51B2-17476E0803A4}"/>
              </a:ext>
            </a:extLst>
          </p:cNvPr>
          <p:cNvSpPr/>
          <p:nvPr/>
        </p:nvSpPr>
        <p:spPr bwMode="gray">
          <a:xfrm>
            <a:off x="1203046" y="5396963"/>
            <a:ext cx="2164700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Update avatar button. Onclick: allow user to pick image from device as avatar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8D011AA-30CC-2641-1FED-3227D12B1823}"/>
              </a:ext>
            </a:extLst>
          </p:cNvPr>
          <p:cNvCxnSpPr>
            <a:cxnSpLocks/>
            <a:stCxn id="15" idx="0"/>
          </p:cNvCxnSpPr>
          <p:nvPr/>
        </p:nvCxnSpPr>
        <p:spPr>
          <a:xfrm flipV="1">
            <a:off x="2285396" y="3592286"/>
            <a:ext cx="0" cy="1804677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86F2A68-9903-1397-EC04-AF5FB1C1C0B3}"/>
              </a:ext>
            </a:extLst>
          </p:cNvPr>
          <p:cNvSpPr/>
          <p:nvPr/>
        </p:nvSpPr>
        <p:spPr bwMode="gray">
          <a:xfrm>
            <a:off x="9418909" y="1234854"/>
            <a:ext cx="1784376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Save profile button. Onclick :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display “confirmation alert”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86F8DC2-FDD0-C1AF-1AF3-6C45D20A69F6}"/>
              </a:ext>
            </a:extLst>
          </p:cNvPr>
          <p:cNvCxnSpPr>
            <a:cxnSpLocks/>
            <a:stCxn id="18" idx="2"/>
          </p:cNvCxnSpPr>
          <p:nvPr/>
        </p:nvCxnSpPr>
        <p:spPr>
          <a:xfrm flipH="1">
            <a:off x="10311096" y="1655640"/>
            <a:ext cx="1" cy="2853575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EBD6A83-B398-B4AF-D79F-EFF64AE36EF2}"/>
              </a:ext>
            </a:extLst>
          </p:cNvPr>
          <p:cNvSpPr/>
          <p:nvPr/>
        </p:nvSpPr>
        <p:spPr bwMode="gray">
          <a:xfrm>
            <a:off x="7866586" y="5119499"/>
            <a:ext cx="3122367" cy="420786"/>
          </a:xfrm>
          <a:prstGeom prst="roundRect">
            <a:avLst/>
          </a:prstGeom>
          <a:solidFill>
            <a:schemeClr val="bg1">
              <a:lumMod val="85000"/>
              <a:lumOff val="15000"/>
            </a:schemeClr>
          </a:solidFill>
          <a:ln w="63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confirmation alert before profile update.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“cancel” button Onclick: no updates sent to databas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“Confirm” button Onclick: updates sent to database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DCAA8F4-AF7F-F8E5-015E-3BD5059D3953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7374019" y="5329892"/>
            <a:ext cx="492567" cy="0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23826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02E20F-F447-8501-B104-0CDDC88057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5C0DC1-5621-0AF7-2C3B-0C1CC80E9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rchite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B541C-FC32-C89E-A05E-2D0089EC6C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3000"/>
              <a:t>Diagram and Storage Schema</a:t>
            </a:r>
          </a:p>
        </p:txBody>
      </p:sp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0B8D66D5-77D1-948D-F990-409C723723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5" b="55"/>
          <a:stretch/>
        </p:blipFill>
        <p:spPr>
          <a:xfrm>
            <a:off x="5962168" y="209117"/>
            <a:ext cx="6229832" cy="6223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85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99F3B-96A2-CDDA-01DC-14BE7EE60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952E2CD-BA8F-63C8-1D4C-7F878AC1FC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Overview of development environment</a:t>
            </a:r>
            <a:endParaRPr lang="en-US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EC370E-167B-D4DE-7B4A-05D95776A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Architecture Diagram</a:t>
            </a:r>
            <a:endParaRPr lang="en-US" sz="2400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277287-B099-17C7-6AD1-7C2F30BE38D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38001" y="1062627"/>
            <a:ext cx="11165054" cy="5306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F30D3E-D498-19D2-E9D4-9C57C75BE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DF6346-8639-DBC4-6E09-5EE714A4D1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Overview of storage environment</a:t>
            </a:r>
            <a:endParaRPr lang="en-US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65D1239-1BB3-FE74-0361-159CD574D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Storage Schema</a:t>
            </a:r>
            <a:endParaRPr lang="en-US" sz="2400" noProof="0"/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4B3389AD-59FA-D5C4-1241-DEFAAE29F14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735"/>
          <a:stretch/>
        </p:blipFill>
        <p:spPr>
          <a:xfrm>
            <a:off x="2669301" y="1070363"/>
            <a:ext cx="6706156" cy="5103637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77247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D476D4-23F2-565E-F64A-2BBF54D20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7EB050-E604-B40D-AABA-5E072E391F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628" r="17868"/>
          <a:stretch/>
        </p:blipFill>
        <p:spPr>
          <a:xfrm>
            <a:off x="2933700" y="368924"/>
            <a:ext cx="6324600" cy="5713268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E6485BB3-A766-E6E6-821A-7BCA4D68B8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Thank You</a:t>
            </a:r>
            <a:br>
              <a:rPr lang="en-US" sz="3600" dirty="0"/>
            </a:br>
            <a:r>
              <a:rPr lang="en-US" sz="3600" dirty="0"/>
              <a:t>For Your Atten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D020325-D203-E55F-7247-D48A0D66A4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ur Syazwani Binti Samsawi | 2022876358</a:t>
            </a:r>
          </a:p>
        </p:txBody>
      </p:sp>
      <p:pic>
        <p:nvPicPr>
          <p:cNvPr id="8" name="Picture 7" descr="Deloitte Heritage Seal - MAKING AN IMPACT THAT MATTERS SINCE 1845">
            <a:extLst>
              <a:ext uri="{FF2B5EF4-FFF2-40B4-BE49-F238E27FC236}">
                <a16:creationId xmlns:a16="http://schemas.microsoft.com/office/drawing/2014/main" id="{1A5D30AC-EC6B-88FD-F5F8-6C4B5429DF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703187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86888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6" descr="Stock image of close-up green leaves">
            <a:extLst>
              <a:ext uri="{FF2B5EF4-FFF2-40B4-BE49-F238E27FC236}">
                <a16:creationId xmlns:a16="http://schemas.microsoft.com/office/drawing/2014/main" id="{21F3E057-F41B-BDF4-7043-61E87E72BE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" r="9812"/>
          <a:stretch/>
        </p:blipFill>
        <p:spPr>
          <a:xfrm>
            <a:off x="7197203" y="597309"/>
            <a:ext cx="4994797" cy="5663381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C93D7E6-D864-05F3-553B-5B19C6CA8B0F}"/>
              </a:ext>
            </a:extLst>
          </p:cNvPr>
          <p:cNvSpPr txBox="1">
            <a:spLocks/>
          </p:cNvSpPr>
          <p:nvPr/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sz="2800" dirty="0"/>
              <a:t>Conten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3DC34DA-E443-BC36-3C96-38A06A9C3A28}"/>
              </a:ext>
            </a:extLst>
          </p:cNvPr>
          <p:cNvGrpSpPr/>
          <p:nvPr/>
        </p:nvGrpSpPr>
        <p:grpSpPr>
          <a:xfrm>
            <a:off x="450000" y="2047888"/>
            <a:ext cx="717755" cy="2604912"/>
            <a:chOff x="450000" y="2005780"/>
            <a:chExt cx="717755" cy="2604912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8BDA6DB-0BC0-0879-270B-6841F76DFD2E}"/>
                </a:ext>
              </a:extLst>
            </p:cNvPr>
            <p:cNvSpPr txBox="1"/>
            <p:nvPr/>
          </p:nvSpPr>
          <p:spPr>
            <a:xfrm>
              <a:off x="450000" y="2005780"/>
              <a:ext cx="71775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2800" b="1">
                  <a:solidFill>
                    <a:srgbClr val="313131"/>
                  </a:solidFill>
                </a:rPr>
                <a:t>01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A935831-ECEA-721C-AB75-8DE44B24059D}"/>
                </a:ext>
              </a:extLst>
            </p:cNvPr>
            <p:cNvSpPr txBox="1"/>
            <p:nvPr/>
          </p:nvSpPr>
          <p:spPr>
            <a:xfrm>
              <a:off x="450000" y="2730455"/>
              <a:ext cx="71775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2800" b="1">
                  <a:solidFill>
                    <a:srgbClr val="313131"/>
                  </a:solidFill>
                </a:rPr>
                <a:t>02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EF42A26-5232-6765-326A-D417343DDB18}"/>
                </a:ext>
              </a:extLst>
            </p:cNvPr>
            <p:cNvSpPr txBox="1"/>
            <p:nvPr/>
          </p:nvSpPr>
          <p:spPr>
            <a:xfrm>
              <a:off x="450000" y="3455130"/>
              <a:ext cx="71775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2800" b="1">
                  <a:solidFill>
                    <a:srgbClr val="313131"/>
                  </a:solidFill>
                </a:rPr>
                <a:t>03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83BA68A-9E7C-A314-54BF-D4B04C8D9A9D}"/>
                </a:ext>
              </a:extLst>
            </p:cNvPr>
            <p:cNvSpPr txBox="1"/>
            <p:nvPr/>
          </p:nvSpPr>
          <p:spPr>
            <a:xfrm>
              <a:off x="450000" y="4179805"/>
              <a:ext cx="71775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2800" b="1">
                  <a:solidFill>
                    <a:srgbClr val="313131"/>
                  </a:solidFill>
                </a:rPr>
                <a:t>04</a:t>
              </a:r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D12ABE91-042B-5707-AE1A-15546BF248D7}"/>
              </a:ext>
            </a:extLst>
          </p:cNvPr>
          <p:cNvSpPr txBox="1">
            <a:spLocks/>
          </p:cNvSpPr>
          <p:nvPr/>
        </p:nvSpPr>
        <p:spPr bwMode="gray">
          <a:xfrm>
            <a:off x="1277921" y="2097480"/>
            <a:ext cx="4393536" cy="46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fontAlgn="base" hangingPunct="1">
              <a:spcBef>
                <a:spcPts val="0"/>
              </a:spcBef>
              <a:spcAft>
                <a:spcPts val="0"/>
              </a:spcAft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dirty="0"/>
              <a:t>Technical Learning Path (React JS)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2C094D4-1D18-EFEE-9028-3B337074D1B8}"/>
              </a:ext>
            </a:extLst>
          </p:cNvPr>
          <p:cNvSpPr txBox="1">
            <a:spLocks/>
          </p:cNvSpPr>
          <p:nvPr/>
        </p:nvSpPr>
        <p:spPr bwMode="gray">
          <a:xfrm>
            <a:off x="1277920" y="2829246"/>
            <a:ext cx="4611251" cy="46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fontAlgn="base" hangingPunct="1">
              <a:spcBef>
                <a:spcPts val="0"/>
              </a:spcBef>
              <a:spcAft>
                <a:spcPts val="0"/>
              </a:spcAft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dirty="0"/>
              <a:t>Technical Learning Path (Docker)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753D4D1-EE0B-137A-35EC-304EBFF01C78}"/>
              </a:ext>
            </a:extLst>
          </p:cNvPr>
          <p:cNvSpPr txBox="1">
            <a:spLocks/>
          </p:cNvSpPr>
          <p:nvPr/>
        </p:nvSpPr>
        <p:spPr bwMode="gray">
          <a:xfrm>
            <a:off x="1277920" y="3561012"/>
            <a:ext cx="4818080" cy="46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fontAlgn="base" hangingPunct="1">
              <a:spcBef>
                <a:spcPts val="0"/>
              </a:spcBef>
              <a:spcAft>
                <a:spcPts val="0"/>
              </a:spcAft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dirty="0"/>
              <a:t>Technical Learning Path (Spring Boot)</a:t>
            </a:r>
          </a:p>
          <a:p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BF6B65C-3CAA-1FD8-5728-ACBB8B1A4392}"/>
              </a:ext>
            </a:extLst>
          </p:cNvPr>
          <p:cNvSpPr txBox="1">
            <a:spLocks/>
          </p:cNvSpPr>
          <p:nvPr/>
        </p:nvSpPr>
        <p:spPr bwMode="gray">
          <a:xfrm>
            <a:off x="1277919" y="4292778"/>
            <a:ext cx="4905167" cy="46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685800" rtl="0" eaLnBrk="1" fontAlgn="base" hangingPunct="1">
              <a:spcBef>
                <a:spcPts val="0"/>
              </a:spcBef>
              <a:spcAft>
                <a:spcPts val="0"/>
              </a:spcAft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dirty="0"/>
              <a:t>Pair Project (Ticketing Support System)</a:t>
            </a:r>
          </a:p>
        </p:txBody>
      </p:sp>
    </p:spTree>
    <p:extLst>
      <p:ext uri="{BB962C8B-B14F-4D97-AF65-F5344CB8AC3E}">
        <p14:creationId xmlns:p14="http://schemas.microsoft.com/office/powerpoint/2010/main" val="3883857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D199B14-5EE5-28CA-7059-D5BC701C474F}"/>
              </a:ext>
            </a:extLst>
          </p:cNvPr>
          <p:cNvSpPr txBox="1">
            <a:spLocks/>
          </p:cNvSpPr>
          <p:nvPr/>
        </p:nvSpPr>
        <p:spPr>
          <a:xfrm>
            <a:off x="450000" y="716658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ront-end Framework ( React JS )</a:t>
            </a: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FC35BE48-0816-F7A0-B9DF-8289EC455801}"/>
              </a:ext>
            </a:extLst>
          </p:cNvPr>
          <p:cNvSpPr txBox="1">
            <a:spLocks/>
          </p:cNvSpPr>
          <p:nvPr/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sz="2400" dirty="0"/>
              <a:t>Technical Learning Path</a:t>
            </a:r>
          </a:p>
        </p:txBody>
      </p:sp>
      <p:pic>
        <p:nvPicPr>
          <p:cNvPr id="1026" name="Picture 2" descr="A Comprehensive Guide to React for Complete Beginners | by Eric Flynn |  Medium">
            <a:extLst>
              <a:ext uri="{FF2B5EF4-FFF2-40B4-BE49-F238E27FC236}">
                <a16:creationId xmlns:a16="http://schemas.microsoft.com/office/drawing/2014/main" id="{79ADA0BE-6225-4566-2477-072389F30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975" y="1795462"/>
            <a:ext cx="497205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22311A5-C12E-8E9F-E7CD-050BC32FA24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032" b="6667"/>
          <a:stretch/>
        </p:blipFill>
        <p:spPr>
          <a:xfrm>
            <a:off x="849924" y="1795462"/>
            <a:ext cx="3317464" cy="15544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CF1947-D082-419F-0084-015A9A45A2E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5045" b="6508"/>
          <a:stretch/>
        </p:blipFill>
        <p:spPr>
          <a:xfrm>
            <a:off x="8048229" y="570718"/>
            <a:ext cx="3312543" cy="16480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E7B210C-AC81-F5FE-D923-442C9D1ADC3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5045" b="7142"/>
          <a:stretch/>
        </p:blipFill>
        <p:spPr>
          <a:xfrm>
            <a:off x="8024239" y="2433931"/>
            <a:ext cx="3323430" cy="164158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90F1F13-8022-943B-CA83-DCDBADC8FE9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5045" b="6666"/>
          <a:stretch/>
        </p:blipFill>
        <p:spPr>
          <a:xfrm>
            <a:off x="843959" y="3594237"/>
            <a:ext cx="3323429" cy="165048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2FF0C66-1ACD-E916-B053-98AC110DB6B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5045" b="7142"/>
          <a:stretch/>
        </p:blipFill>
        <p:spPr>
          <a:xfrm>
            <a:off x="7998259" y="4297143"/>
            <a:ext cx="3323429" cy="164158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B58CF5DC-BC00-A18E-AB55-C7FFCAC2FA71}"/>
              </a:ext>
            </a:extLst>
          </p:cNvPr>
          <p:cNvSpPr/>
          <p:nvPr/>
        </p:nvSpPr>
        <p:spPr bwMode="gray">
          <a:xfrm>
            <a:off x="843959" y="1781187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Learning Course on Udem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FF3DD7-E3FF-0A5B-6CEE-ABD6D041E638}"/>
              </a:ext>
            </a:extLst>
          </p:cNvPr>
          <p:cNvSpPr/>
          <p:nvPr/>
        </p:nvSpPr>
        <p:spPr bwMode="gray">
          <a:xfrm>
            <a:off x="848079" y="3594237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Photo Search Engin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70B31E3-89E5-2BF7-962F-EF97FF45FFD5}"/>
              </a:ext>
            </a:extLst>
          </p:cNvPr>
          <p:cNvSpPr/>
          <p:nvPr/>
        </p:nvSpPr>
        <p:spPr bwMode="gray">
          <a:xfrm>
            <a:off x="8037343" y="560002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Random Animal Voting Ap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A578B60-5B69-4520-95DA-BAADC4DE3939}"/>
              </a:ext>
            </a:extLst>
          </p:cNvPr>
          <p:cNvSpPr/>
          <p:nvPr/>
        </p:nvSpPr>
        <p:spPr bwMode="gray">
          <a:xfrm>
            <a:off x="8018647" y="2430361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Photo Book Librar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3BD179-EE42-F634-E265-3C75D593C352}"/>
              </a:ext>
            </a:extLst>
          </p:cNvPr>
          <p:cNvSpPr/>
          <p:nvPr/>
        </p:nvSpPr>
        <p:spPr bwMode="gray">
          <a:xfrm>
            <a:off x="7998259" y="4297143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Tailwind CSS UI </a:t>
            </a:r>
          </a:p>
        </p:txBody>
      </p:sp>
    </p:spTree>
    <p:extLst>
      <p:ext uri="{BB962C8B-B14F-4D97-AF65-F5344CB8AC3E}">
        <p14:creationId xmlns:p14="http://schemas.microsoft.com/office/powerpoint/2010/main" val="10905723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24402-6198-2072-8555-C84A06DB0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0E988BB-A5AC-55EA-3209-187DA22395F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0032" b="7915"/>
          <a:stretch/>
        </p:blipFill>
        <p:spPr>
          <a:xfrm>
            <a:off x="843959" y="3594239"/>
            <a:ext cx="3323429" cy="153394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7A7CB95-1652-97EF-30E1-84573337327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122" b="5698"/>
          <a:stretch/>
        </p:blipFill>
        <p:spPr>
          <a:xfrm>
            <a:off x="843959" y="1781188"/>
            <a:ext cx="3323429" cy="15736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D4CA4CA-AC98-1CCE-4127-3BFBCAC9043F}"/>
              </a:ext>
            </a:extLst>
          </p:cNvPr>
          <p:cNvSpPr txBox="1">
            <a:spLocks/>
          </p:cNvSpPr>
          <p:nvPr/>
        </p:nvSpPr>
        <p:spPr>
          <a:xfrm>
            <a:off x="450000" y="716658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pplication Environment ( Docker )</a:t>
            </a: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1ABB0F98-10DF-D625-4225-CC93418F0CF0}"/>
              </a:ext>
            </a:extLst>
          </p:cNvPr>
          <p:cNvSpPr txBox="1">
            <a:spLocks/>
          </p:cNvSpPr>
          <p:nvPr/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sz="2400" dirty="0"/>
              <a:t>Technical Learning Path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C875DFF-114D-A899-E6E5-3C77FA9DDFF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5777" b="5777"/>
          <a:stretch/>
        </p:blipFill>
        <p:spPr>
          <a:xfrm>
            <a:off x="8048229" y="570718"/>
            <a:ext cx="3312543" cy="16480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6131A81-AE83-D0C9-B739-AAFD1574A07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094" b="6094"/>
          <a:stretch/>
        </p:blipFill>
        <p:spPr>
          <a:xfrm>
            <a:off x="8024239" y="2433931"/>
            <a:ext cx="3323430" cy="164158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EA34A7A-4F05-9726-C25C-5575EEED167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094" b="6094"/>
          <a:stretch/>
        </p:blipFill>
        <p:spPr>
          <a:xfrm>
            <a:off x="7998259" y="4297143"/>
            <a:ext cx="3323429" cy="164158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8DE2D02-56C0-B659-8501-70844CF67C11}"/>
              </a:ext>
            </a:extLst>
          </p:cNvPr>
          <p:cNvSpPr/>
          <p:nvPr/>
        </p:nvSpPr>
        <p:spPr bwMode="gray">
          <a:xfrm>
            <a:off x="843959" y="1781187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Udemy : Docker Fast Track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A5A7C40-6932-1C3E-2517-0E3AEF15D31A}"/>
              </a:ext>
            </a:extLst>
          </p:cNvPr>
          <p:cNvSpPr/>
          <p:nvPr/>
        </p:nvSpPr>
        <p:spPr bwMode="gray">
          <a:xfrm>
            <a:off x="848079" y="3594237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Udemy : Docker &amp; Kubernet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8C6CB7E-E9C7-1C06-C56C-0D11E6A81E85}"/>
              </a:ext>
            </a:extLst>
          </p:cNvPr>
          <p:cNvSpPr/>
          <p:nvPr/>
        </p:nvSpPr>
        <p:spPr bwMode="gray">
          <a:xfrm>
            <a:off x="8037343" y="560002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err="1">
                <a:solidFill>
                  <a:schemeClr val="bg1"/>
                </a:solidFill>
              </a:rPr>
              <a:t>Podman</a:t>
            </a:r>
            <a:r>
              <a:rPr lang="en-US" sz="1600" b="1" dirty="0">
                <a:solidFill>
                  <a:schemeClr val="bg1"/>
                </a:solidFill>
              </a:rPr>
              <a:t> Deskto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58F2C1B-F8FD-8B52-7F4A-E17A5AFC749D}"/>
              </a:ext>
            </a:extLst>
          </p:cNvPr>
          <p:cNvSpPr/>
          <p:nvPr/>
        </p:nvSpPr>
        <p:spPr bwMode="gray">
          <a:xfrm>
            <a:off x="8018647" y="2421735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err="1">
                <a:solidFill>
                  <a:schemeClr val="bg1"/>
                </a:solidFill>
              </a:rPr>
              <a:t>Podman</a:t>
            </a:r>
            <a:r>
              <a:rPr lang="en-US" sz="1600" b="1" dirty="0">
                <a:solidFill>
                  <a:schemeClr val="bg1"/>
                </a:solidFill>
              </a:rPr>
              <a:t> Comman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9101871-9B70-435D-751E-90CF1DD67344}"/>
              </a:ext>
            </a:extLst>
          </p:cNvPr>
          <p:cNvSpPr/>
          <p:nvPr/>
        </p:nvSpPr>
        <p:spPr bwMode="gray">
          <a:xfrm>
            <a:off x="7998259" y="4297143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Docker Hub Integration</a:t>
            </a:r>
          </a:p>
        </p:txBody>
      </p:sp>
      <p:pic>
        <p:nvPicPr>
          <p:cNvPr id="2050" name="Picture 2" descr="Docker | InfluxData">
            <a:extLst>
              <a:ext uri="{FF2B5EF4-FFF2-40B4-BE49-F238E27FC236}">
                <a16:creationId xmlns:a16="http://schemas.microsoft.com/office/drawing/2014/main" id="{1E688A15-7622-B8C7-B520-39E7AD20D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7977" y="4011439"/>
            <a:ext cx="1556046" cy="134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Using Podman to Generate and Test a Kubernetes YAML Manifest">
            <a:extLst>
              <a:ext uri="{FF2B5EF4-FFF2-40B4-BE49-F238E27FC236}">
                <a16:creationId xmlns:a16="http://schemas.microsoft.com/office/drawing/2014/main" id="{57B63BF1-E921-6762-CD3A-591268DE1C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167" y="1579645"/>
            <a:ext cx="3505344" cy="2717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58013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98705-A0BB-8CE4-F51D-78D7A892C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D8C7CC88-5F53-0D52-D084-437525CF7746}"/>
              </a:ext>
            </a:extLst>
          </p:cNvPr>
          <p:cNvSpPr txBox="1">
            <a:spLocks/>
          </p:cNvSpPr>
          <p:nvPr/>
        </p:nvSpPr>
        <p:spPr>
          <a:xfrm>
            <a:off x="450000" y="716658"/>
            <a:ext cx="11304000" cy="757255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◦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488" rtl="0" eaLnBrk="1" fontAlgn="base" hangingPunct="1">
              <a:spcBef>
                <a:spcPct val="0"/>
              </a:spcBef>
              <a:spcAft>
                <a:spcPts val="750"/>
              </a:spcAft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ack-end Framework ( Spring Boot )</a:t>
            </a: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DB2821B2-C691-5970-86DA-872A9E93FD1D}"/>
              </a:ext>
            </a:extLst>
          </p:cNvPr>
          <p:cNvSpPr txBox="1">
            <a:spLocks/>
          </p:cNvSpPr>
          <p:nvPr/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/>
          <a:lstStyle>
            <a:lvl1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Calibri Light" panose="020F0302020204030204" pitchFamily="34" charset="0"/>
              </a:defRPr>
            </a:lvl1pPr>
            <a:lvl2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2pPr>
            <a:lvl3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3pPr>
            <a:lvl4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4pPr>
            <a:lvl5pPr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5pPr>
            <a:lvl6pPr marL="4572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6pPr>
            <a:lvl7pPr marL="9144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7pPr>
            <a:lvl8pPr marL="13716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8pPr>
            <a:lvl9pPr marL="1828800" algn="l" defTabSz="685800" rtl="0" eaLnBrk="1" fontAlgn="base" hangingPunct="1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9pPr>
          </a:lstStyle>
          <a:p>
            <a:r>
              <a:rPr lang="en-US" sz="2400" dirty="0"/>
              <a:t>Technical Learning Path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36985FC-C637-BB9D-49C1-BB40D6196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4691588" y="1929118"/>
            <a:ext cx="2808824" cy="252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45A4E6B-EB29-2BCA-7749-95664BB339A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8349" b="8349"/>
          <a:stretch/>
        </p:blipFill>
        <p:spPr>
          <a:xfrm>
            <a:off x="849924" y="1795462"/>
            <a:ext cx="3317464" cy="15544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83B689B-5680-4EFD-99FF-3A647A0407D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5777" b="5777"/>
          <a:stretch/>
        </p:blipFill>
        <p:spPr>
          <a:xfrm>
            <a:off x="8048229" y="570718"/>
            <a:ext cx="3317464" cy="165048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764ED89-822C-44BA-5DF0-A011D698AFB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094" b="6094"/>
          <a:stretch/>
        </p:blipFill>
        <p:spPr>
          <a:xfrm>
            <a:off x="8024239" y="2433931"/>
            <a:ext cx="3323430" cy="164158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469E28C-6249-161D-0789-4FB06CF1608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5856" b="5856"/>
          <a:stretch/>
        </p:blipFill>
        <p:spPr>
          <a:xfrm>
            <a:off x="843959" y="3594237"/>
            <a:ext cx="3323429" cy="165048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8CCC9BB-1F33-F084-2ED3-F4A16D8B117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9379" b="9379"/>
          <a:stretch/>
        </p:blipFill>
        <p:spPr>
          <a:xfrm>
            <a:off x="7998259" y="4297143"/>
            <a:ext cx="3323429" cy="164158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85656BA-0496-8684-3DB7-5462F47201E8}"/>
              </a:ext>
            </a:extLst>
          </p:cNvPr>
          <p:cNvSpPr/>
          <p:nvPr/>
        </p:nvSpPr>
        <p:spPr bwMode="gray">
          <a:xfrm>
            <a:off x="843959" y="1781187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Learning Course on Udem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89EB89-71F1-69FC-4AA3-4ED6B78671F2}"/>
              </a:ext>
            </a:extLst>
          </p:cNvPr>
          <p:cNvSpPr/>
          <p:nvPr/>
        </p:nvSpPr>
        <p:spPr bwMode="gray">
          <a:xfrm>
            <a:off x="848079" y="3594237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Spring Initializ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640DF90-B89B-E266-C590-2B5A096A6D57}"/>
              </a:ext>
            </a:extLst>
          </p:cNvPr>
          <p:cNvSpPr/>
          <p:nvPr/>
        </p:nvSpPr>
        <p:spPr bwMode="gray">
          <a:xfrm>
            <a:off x="8045969" y="1835320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icroservic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367FD62-F02B-F5A3-0C49-8589D82D0C62}"/>
              </a:ext>
            </a:extLst>
          </p:cNvPr>
          <p:cNvSpPr/>
          <p:nvPr/>
        </p:nvSpPr>
        <p:spPr bwMode="gray">
          <a:xfrm>
            <a:off x="8018647" y="3687024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Postma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54EC5C5-EAF2-2E4A-C5F5-62DB641B3595}"/>
              </a:ext>
            </a:extLst>
          </p:cNvPr>
          <p:cNvSpPr/>
          <p:nvPr/>
        </p:nvSpPr>
        <p:spPr bwMode="gray">
          <a:xfrm>
            <a:off x="7998259" y="5557535"/>
            <a:ext cx="3323429" cy="389013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PI Gateway</a:t>
            </a:r>
          </a:p>
        </p:txBody>
      </p:sp>
      <p:pic>
        <p:nvPicPr>
          <p:cNvPr id="3076" name="Picture 4" descr="Getting Started with Spring Boot. Spring boot is an app development… | by  Tosin Adedoyin | Medium">
            <a:extLst>
              <a:ext uri="{FF2B5EF4-FFF2-40B4-BE49-F238E27FC236}">
                <a16:creationId xmlns:a16="http://schemas.microsoft.com/office/drawing/2014/main" id="{2757686E-3088-8BD2-358E-C69E1B15E8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3"/>
          <a:stretch/>
        </p:blipFill>
        <p:spPr bwMode="auto">
          <a:xfrm>
            <a:off x="4569296" y="3924535"/>
            <a:ext cx="3187437" cy="1959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96443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9D5C5EF4-9CCA-4665-825B-F674776CB0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t="55" b="55"/>
          <a:stretch/>
        </p:blipFill>
        <p:spPr>
          <a:xfrm>
            <a:off x="2981084" y="317497"/>
            <a:ext cx="6229832" cy="6223005"/>
          </a:xfr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0"/>
              <a:t>Anastasia Nur Izati, Nur Syazwani | December 2024</a:t>
            </a:r>
          </a:p>
        </p:txBody>
      </p:sp>
      <p:pic>
        <p:nvPicPr>
          <p:cNvPr id="8" name="Picture 7" descr="Deloitte Heritage Seal - MAKING AN IMPACT THAT MATTERS SINCE 1845">
            <a:extLst>
              <a:ext uri="{FF2B5EF4-FFF2-40B4-BE49-F238E27FC236}">
                <a16:creationId xmlns:a16="http://schemas.microsoft.com/office/drawing/2014/main" id="{4E327673-1413-4DDD-9B6F-FD99E249528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11" name="Title 12">
            <a:extLst>
              <a:ext uri="{FF2B5EF4-FFF2-40B4-BE49-F238E27FC236}">
                <a16:creationId xmlns:a16="http://schemas.microsoft.com/office/drawing/2014/main" id="{1CC2A20F-EB31-3DF1-E720-BEF8C74D3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1" y="5186209"/>
            <a:ext cx="4490721" cy="895983"/>
          </a:xfrm>
        </p:spPr>
        <p:txBody>
          <a:bodyPr/>
          <a:lstStyle/>
          <a:p>
            <a:r>
              <a:rPr lang="en-US" sz="4000" b="1">
                <a:solidFill>
                  <a:srgbClr val="86BC25"/>
                </a:solidFill>
                <a:latin typeface="Calibri Light"/>
                <a:ea typeface="Open Sans"/>
                <a:cs typeface="Calibri Light"/>
              </a:rPr>
              <a:t>Dexter</a:t>
            </a:r>
            <a:br>
              <a:rPr lang="en-US"/>
            </a:br>
            <a:r>
              <a:rPr lang="en-US" b="1">
                <a:latin typeface="Calibri Light"/>
                <a:ea typeface="Open Sans"/>
                <a:cs typeface="Calibri Light"/>
              </a:rPr>
              <a:t>Ticketing Support System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48522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829C2-4E61-D33A-CB94-9D5F42C7E4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8BF13B-D55A-50D4-C77E-CD460D39FD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/>
              <a:t>The capabilities of the project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CCB51CE-DA89-EB1C-E930-CA4ED18BB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Features</a:t>
            </a:r>
            <a:endParaRPr lang="en-US" sz="2400" noProof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20701C6-4BD6-97AB-77BF-C1E44C0E669B}"/>
              </a:ext>
            </a:extLst>
          </p:cNvPr>
          <p:cNvGrpSpPr/>
          <p:nvPr/>
        </p:nvGrpSpPr>
        <p:grpSpPr>
          <a:xfrm>
            <a:off x="450000" y="1713071"/>
            <a:ext cx="10404232" cy="3269852"/>
            <a:chOff x="450000" y="1713071"/>
            <a:chExt cx="10404232" cy="3269852"/>
          </a:xfrm>
        </p:grpSpPr>
        <p:sp>
          <p:nvSpPr>
            <p:cNvPr id="2" name="Pentagon 23">
              <a:extLst>
                <a:ext uri="{FF2B5EF4-FFF2-40B4-BE49-F238E27FC236}">
                  <a16:creationId xmlns:a16="http://schemas.microsoft.com/office/drawing/2014/main" id="{C198BF20-F32E-2CA1-8AFA-49685F53FAB3}"/>
                </a:ext>
              </a:extLst>
            </p:cNvPr>
            <p:cNvSpPr/>
            <p:nvPr/>
          </p:nvSpPr>
          <p:spPr bwMode="gray">
            <a:xfrm>
              <a:off x="450000" y="1714500"/>
              <a:ext cx="3394031" cy="914400"/>
            </a:xfrm>
            <a:prstGeom prst="homePlate">
              <a:avLst/>
            </a:prstGeom>
            <a:solidFill>
              <a:srgbClr val="2C52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66675" rIns="66675" bIns="66675" rtlCol="0" anchor="ctr"/>
            <a:lstStyle/>
            <a:p>
              <a:pPr algn="r"/>
              <a:r>
                <a:rPr lang="en-US" sz="1400" b="1"/>
                <a:t>Admin</a:t>
              </a:r>
            </a:p>
          </p:txBody>
        </p:sp>
        <p:sp>
          <p:nvSpPr>
            <p:cNvPr id="7" name="Pentagon 25">
              <a:extLst>
                <a:ext uri="{FF2B5EF4-FFF2-40B4-BE49-F238E27FC236}">
                  <a16:creationId xmlns:a16="http://schemas.microsoft.com/office/drawing/2014/main" id="{FF0E59D0-28E4-C0A2-C739-E32E11DEE6B6}"/>
                </a:ext>
              </a:extLst>
            </p:cNvPr>
            <p:cNvSpPr/>
            <p:nvPr/>
          </p:nvSpPr>
          <p:spPr bwMode="gray">
            <a:xfrm>
              <a:off x="450000" y="4068522"/>
              <a:ext cx="3394031" cy="914400"/>
            </a:xfrm>
            <a:prstGeom prst="homePlate">
              <a:avLst/>
            </a:prstGeom>
            <a:solidFill>
              <a:srgbClr val="2C52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66675" rIns="66675" bIns="66675" rtlCol="0" anchor="ctr"/>
            <a:lstStyle/>
            <a:p>
              <a:pPr algn="r"/>
              <a:r>
                <a:rPr lang="en-US" sz="1400" b="1"/>
                <a:t>User</a:t>
              </a:r>
            </a:p>
          </p:txBody>
        </p:sp>
        <p:sp>
          <p:nvSpPr>
            <p:cNvPr id="12" name="Text Placeholder 3">
              <a:extLst>
                <a:ext uri="{FF2B5EF4-FFF2-40B4-BE49-F238E27FC236}">
                  <a16:creationId xmlns:a16="http://schemas.microsoft.com/office/drawing/2014/main" id="{9156A65E-2A1A-EB55-27BE-4ADEB4CAE70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1051" y="1829386"/>
              <a:ext cx="6713181" cy="68319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/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 dirty="0">
                  <a:latin typeface="+mn-lt"/>
                </a:rPr>
                <a:t>Create new employee</a:t>
              </a:r>
            </a:p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 dirty="0">
                  <a:latin typeface="+mn-lt"/>
                </a:rPr>
                <a:t>Assign role to the employee</a:t>
              </a:r>
            </a:p>
          </p:txBody>
        </p:sp>
        <p:sp>
          <p:nvSpPr>
            <p:cNvPr id="13" name="Pentagon 29">
              <a:extLst>
                <a:ext uri="{FF2B5EF4-FFF2-40B4-BE49-F238E27FC236}">
                  <a16:creationId xmlns:a16="http://schemas.microsoft.com/office/drawing/2014/main" id="{C4F9ED61-A1C8-242C-832C-6FCC5ADC84C5}"/>
                </a:ext>
              </a:extLst>
            </p:cNvPr>
            <p:cNvSpPr/>
            <p:nvPr/>
          </p:nvSpPr>
          <p:spPr bwMode="gray">
            <a:xfrm>
              <a:off x="450000" y="2891511"/>
              <a:ext cx="3394031" cy="914400"/>
            </a:xfrm>
            <a:prstGeom prst="homePlate">
              <a:avLst/>
            </a:prstGeom>
            <a:solidFill>
              <a:srgbClr val="2C52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66675" rIns="66675" bIns="66675" rtlCol="0" anchor="ctr"/>
            <a:lstStyle/>
            <a:p>
              <a:pPr algn="r"/>
              <a:r>
                <a:rPr lang="en-US" sz="1400" b="1"/>
                <a:t>Agent</a:t>
              </a:r>
            </a:p>
          </p:txBody>
        </p:sp>
        <p:sp>
          <p:nvSpPr>
            <p:cNvPr id="8" name="Text Placeholder 3">
              <a:extLst>
                <a:ext uri="{FF2B5EF4-FFF2-40B4-BE49-F238E27FC236}">
                  <a16:creationId xmlns:a16="http://schemas.microsoft.com/office/drawing/2014/main" id="{BA7157F5-8CA8-41D1-C541-3868BE22162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1049" y="3006396"/>
              <a:ext cx="6713181" cy="68319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/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Pick new ticket and become the assigned agent</a:t>
              </a:r>
            </a:p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Update ticket status and read ticket details</a:t>
              </a:r>
            </a:p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Send message to ticket owner (user)</a:t>
              </a:r>
            </a:p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Receive notification on new ticket and message from user</a:t>
              </a:r>
            </a:p>
          </p:txBody>
        </p:sp>
        <p:sp>
          <p:nvSpPr>
            <p:cNvPr id="15" name="Text Placeholder 3">
              <a:extLst>
                <a:ext uri="{FF2B5EF4-FFF2-40B4-BE49-F238E27FC236}">
                  <a16:creationId xmlns:a16="http://schemas.microsoft.com/office/drawing/2014/main" id="{CCCD21BB-8141-0D3A-B4DD-00E9946E6C0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1050" y="4183407"/>
              <a:ext cx="6713181" cy="68319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/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Create new ticket</a:t>
              </a:r>
            </a:p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Track ticket status and read ticket details</a:t>
              </a:r>
            </a:p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Send message to assigned agent</a:t>
              </a:r>
            </a:p>
            <a:p>
              <a:pPr marL="180975" lvl="1" indent="-180975">
                <a:spcBef>
                  <a:spcPts val="200"/>
                </a:spcBef>
                <a:spcAft>
                  <a:spcPts val="200"/>
                </a:spcAft>
                <a:buSzPct val="100000"/>
                <a:buFont typeface="Arial"/>
                <a:buChar char="•"/>
                <a:defRPr/>
              </a:pPr>
              <a:r>
                <a:rPr lang="en-US" sz="1400">
                  <a:latin typeface="+mn-lt"/>
                </a:rPr>
                <a:t>Receive notification on ticket update and message from agent</a:t>
              </a:r>
            </a:p>
          </p:txBody>
        </p:sp>
        <p:grpSp>
          <p:nvGrpSpPr>
            <p:cNvPr id="29" name="Graphic 4">
              <a:extLst>
                <a:ext uri="{FF2B5EF4-FFF2-40B4-BE49-F238E27FC236}">
                  <a16:creationId xmlns:a16="http://schemas.microsoft.com/office/drawing/2014/main" id="{045C6CCF-280E-C26C-FA1E-76BA249F5D0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0000" y="1713071"/>
              <a:ext cx="916684" cy="915829"/>
              <a:chOff x="1515054" y="4308712"/>
              <a:chExt cx="362309" cy="361971"/>
            </a:xfrm>
            <a:solidFill>
              <a:schemeClr val="bg1">
                <a:alpha val="25000"/>
              </a:schemeClr>
            </a:solidFill>
          </p:grpSpPr>
          <p:sp>
            <p:nvSpPr>
              <p:cNvPr id="30" name="Graphic 4">
                <a:extLst>
                  <a:ext uri="{FF2B5EF4-FFF2-40B4-BE49-F238E27FC236}">
                    <a16:creationId xmlns:a16="http://schemas.microsoft.com/office/drawing/2014/main" id="{852F088E-8084-CE51-6950-F28FFE23F4A0}"/>
                  </a:ext>
                </a:extLst>
              </p:cNvPr>
              <p:cNvSpPr/>
              <p:nvPr/>
            </p:nvSpPr>
            <p:spPr>
              <a:xfrm>
                <a:off x="1515054" y="4308712"/>
                <a:ext cx="362309" cy="361971"/>
              </a:xfrm>
              <a:custGeom>
                <a:avLst/>
                <a:gdLst>
                  <a:gd name="connsiteX0" fmla="*/ 180835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2 h 361971"/>
                  <a:gd name="connsiteX3" fmla="*/ 362309 w 362309"/>
                  <a:gd name="connsiteY3" fmla="*/ 180667 h 361971"/>
                  <a:gd name="connsiteX4" fmla="*/ 362309 w 362309"/>
                  <a:gd name="connsiteY4" fmla="*/ 180667 h 361971"/>
                  <a:gd name="connsiteX5" fmla="*/ 180835 w 362309"/>
                  <a:gd name="connsiteY5" fmla="*/ 0 h 361971"/>
                  <a:gd name="connsiteX6" fmla="*/ 180835 w 362309"/>
                  <a:gd name="connsiteY6" fmla="*/ 0 h 361971"/>
                  <a:gd name="connsiteX7" fmla="*/ 180835 w 362309"/>
                  <a:gd name="connsiteY7" fmla="*/ 349204 h 361971"/>
                  <a:gd name="connsiteX8" fmla="*/ 12780 w 362309"/>
                  <a:gd name="connsiteY8" fmla="*/ 180667 h 361971"/>
                  <a:gd name="connsiteX9" fmla="*/ 180835 w 362309"/>
                  <a:gd name="connsiteY9" fmla="*/ 12768 h 361971"/>
                  <a:gd name="connsiteX10" fmla="*/ 349529 w 362309"/>
                  <a:gd name="connsiteY10" fmla="*/ 181305 h 361971"/>
                  <a:gd name="connsiteX11" fmla="*/ 349529 w 362309"/>
                  <a:gd name="connsiteY11" fmla="*/ 181305 h 361971"/>
                  <a:gd name="connsiteX12" fmla="*/ 180835 w 362309"/>
                  <a:gd name="connsiteY12" fmla="*/ 349204 h 361971"/>
                  <a:gd name="connsiteX13" fmla="*/ 180835 w 362309"/>
                  <a:gd name="connsiteY13" fmla="*/ 349204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2309" h="361971">
                    <a:moveTo>
                      <a:pt x="180835" y="0"/>
                    </a:moveTo>
                    <a:cubicBezTo>
                      <a:pt x="80513" y="0"/>
                      <a:pt x="0" y="81077"/>
                      <a:pt x="0" y="180667"/>
                    </a:cubicBezTo>
                    <a:cubicBezTo>
                      <a:pt x="0" y="280895"/>
                      <a:pt x="81152" y="361972"/>
                      <a:pt x="180835" y="361972"/>
                    </a:cubicBezTo>
                    <a:cubicBezTo>
                      <a:pt x="280518" y="361972"/>
                      <a:pt x="362309" y="280895"/>
                      <a:pt x="362309" y="180667"/>
                    </a:cubicBezTo>
                    <a:cubicBezTo>
                      <a:pt x="362309" y="180667"/>
                      <a:pt x="362309" y="180667"/>
                      <a:pt x="362309" y="180667"/>
                    </a:cubicBezTo>
                    <a:cubicBezTo>
                      <a:pt x="361670" y="81077"/>
                      <a:pt x="281157" y="0"/>
                      <a:pt x="180835" y="0"/>
                    </a:cubicBezTo>
                    <a:cubicBezTo>
                      <a:pt x="180835" y="0"/>
                      <a:pt x="180835" y="0"/>
                      <a:pt x="180835" y="0"/>
                    </a:cubicBezTo>
                    <a:close/>
                    <a:moveTo>
                      <a:pt x="180835" y="349204"/>
                    </a:moveTo>
                    <a:cubicBezTo>
                      <a:pt x="87542" y="349204"/>
                      <a:pt x="12780" y="273873"/>
                      <a:pt x="12780" y="180667"/>
                    </a:cubicBezTo>
                    <a:cubicBezTo>
                      <a:pt x="12780" y="87461"/>
                      <a:pt x="88181" y="12768"/>
                      <a:pt x="180835" y="12768"/>
                    </a:cubicBezTo>
                    <a:cubicBezTo>
                      <a:pt x="274128" y="12768"/>
                      <a:pt x="349529" y="88099"/>
                      <a:pt x="349529" y="181305"/>
                    </a:cubicBezTo>
                    <a:lnTo>
                      <a:pt x="349529" y="181305"/>
                    </a:lnTo>
                    <a:cubicBezTo>
                      <a:pt x="348891" y="273873"/>
                      <a:pt x="273489" y="349204"/>
                      <a:pt x="180835" y="349204"/>
                    </a:cubicBezTo>
                    <a:lnTo>
                      <a:pt x="180835" y="349204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Graphic 4">
                <a:extLst>
                  <a:ext uri="{FF2B5EF4-FFF2-40B4-BE49-F238E27FC236}">
                    <a16:creationId xmlns:a16="http://schemas.microsoft.com/office/drawing/2014/main" id="{428270C4-AC37-17FF-C24F-193207899A12}"/>
                  </a:ext>
                </a:extLst>
              </p:cNvPr>
              <p:cNvSpPr/>
              <p:nvPr/>
            </p:nvSpPr>
            <p:spPr>
              <a:xfrm>
                <a:off x="1611542" y="4406387"/>
                <a:ext cx="166138" cy="165983"/>
              </a:xfrm>
              <a:custGeom>
                <a:avLst/>
                <a:gdLst>
                  <a:gd name="connsiteX0" fmla="*/ 83069 w 166138"/>
                  <a:gd name="connsiteY0" fmla="*/ 0 h 165983"/>
                  <a:gd name="connsiteX1" fmla="*/ 0 w 166138"/>
                  <a:gd name="connsiteY1" fmla="*/ 82992 h 165983"/>
                  <a:gd name="connsiteX2" fmla="*/ 83069 w 166138"/>
                  <a:gd name="connsiteY2" fmla="*/ 165984 h 165983"/>
                  <a:gd name="connsiteX3" fmla="*/ 166138 w 166138"/>
                  <a:gd name="connsiteY3" fmla="*/ 82992 h 165983"/>
                  <a:gd name="connsiteX4" fmla="*/ 83069 w 166138"/>
                  <a:gd name="connsiteY4" fmla="*/ 0 h 165983"/>
                  <a:gd name="connsiteX5" fmla="*/ 83069 w 166138"/>
                  <a:gd name="connsiteY5" fmla="*/ 0 h 165983"/>
                  <a:gd name="connsiteX6" fmla="*/ 27477 w 166138"/>
                  <a:gd name="connsiteY6" fmla="*/ 125765 h 165983"/>
                  <a:gd name="connsiteX7" fmla="*/ 58787 w 166138"/>
                  <a:gd name="connsiteY7" fmla="*/ 94483 h 165983"/>
                  <a:gd name="connsiteX8" fmla="*/ 60065 w 166138"/>
                  <a:gd name="connsiteY8" fmla="*/ 87461 h 165983"/>
                  <a:gd name="connsiteX9" fmla="*/ 58787 w 166138"/>
                  <a:gd name="connsiteY9" fmla="*/ 82992 h 165983"/>
                  <a:gd name="connsiteX10" fmla="*/ 58787 w 166138"/>
                  <a:gd name="connsiteY10" fmla="*/ 81715 h 165983"/>
                  <a:gd name="connsiteX11" fmla="*/ 64538 w 166138"/>
                  <a:gd name="connsiteY11" fmla="*/ 53626 h 165983"/>
                  <a:gd name="connsiteX12" fmla="*/ 85625 w 166138"/>
                  <a:gd name="connsiteY12" fmla="*/ 39581 h 165983"/>
                  <a:gd name="connsiteX13" fmla="*/ 71567 w 166138"/>
                  <a:gd name="connsiteY13" fmla="*/ 52987 h 165983"/>
                  <a:gd name="connsiteX14" fmla="*/ 69650 w 166138"/>
                  <a:gd name="connsiteY14" fmla="*/ 58733 h 165983"/>
                  <a:gd name="connsiteX15" fmla="*/ 76040 w 166138"/>
                  <a:gd name="connsiteY15" fmla="*/ 85546 h 165983"/>
                  <a:gd name="connsiteX16" fmla="*/ 81152 w 166138"/>
                  <a:gd name="connsiteY16" fmla="*/ 90653 h 165983"/>
                  <a:gd name="connsiteX17" fmla="*/ 107990 w 166138"/>
                  <a:gd name="connsiteY17" fmla="*/ 97037 h 165983"/>
                  <a:gd name="connsiteX18" fmla="*/ 113741 w 166138"/>
                  <a:gd name="connsiteY18" fmla="*/ 95121 h 165983"/>
                  <a:gd name="connsiteX19" fmla="*/ 127160 w 166138"/>
                  <a:gd name="connsiteY19" fmla="*/ 81715 h 165983"/>
                  <a:gd name="connsiteX20" fmla="*/ 117575 w 166138"/>
                  <a:gd name="connsiteY20" fmla="*/ 98952 h 165983"/>
                  <a:gd name="connsiteX21" fmla="*/ 84347 w 166138"/>
                  <a:gd name="connsiteY21" fmla="*/ 108528 h 165983"/>
                  <a:gd name="connsiteX22" fmla="*/ 83708 w 166138"/>
                  <a:gd name="connsiteY22" fmla="*/ 108528 h 165983"/>
                  <a:gd name="connsiteX23" fmla="*/ 79235 w 166138"/>
                  <a:gd name="connsiteY23" fmla="*/ 107251 h 165983"/>
                  <a:gd name="connsiteX24" fmla="*/ 72206 w 166138"/>
                  <a:gd name="connsiteY24" fmla="*/ 108528 h 165983"/>
                  <a:gd name="connsiteX25" fmla="*/ 40896 w 166138"/>
                  <a:gd name="connsiteY25" fmla="*/ 139809 h 165983"/>
                  <a:gd name="connsiteX26" fmla="*/ 27477 w 166138"/>
                  <a:gd name="connsiteY26" fmla="*/ 125765 h 165983"/>
                  <a:gd name="connsiteX27" fmla="*/ 27477 w 166138"/>
                  <a:gd name="connsiteY27" fmla="*/ 125765 h 165983"/>
                  <a:gd name="connsiteX28" fmla="*/ 83069 w 166138"/>
                  <a:gd name="connsiteY28" fmla="*/ 153216 h 165983"/>
                  <a:gd name="connsiteX29" fmla="*/ 52397 w 166138"/>
                  <a:gd name="connsiteY29" fmla="*/ 146193 h 165983"/>
                  <a:gd name="connsiteX30" fmla="*/ 78596 w 166138"/>
                  <a:gd name="connsiteY30" fmla="*/ 120019 h 165983"/>
                  <a:gd name="connsiteX31" fmla="*/ 80513 w 166138"/>
                  <a:gd name="connsiteY31" fmla="*/ 120657 h 165983"/>
                  <a:gd name="connsiteX32" fmla="*/ 81152 w 166138"/>
                  <a:gd name="connsiteY32" fmla="*/ 120657 h 165983"/>
                  <a:gd name="connsiteX33" fmla="*/ 139301 w 166138"/>
                  <a:gd name="connsiteY33" fmla="*/ 86184 h 165983"/>
                  <a:gd name="connsiteX34" fmla="*/ 140579 w 166138"/>
                  <a:gd name="connsiteY34" fmla="*/ 70862 h 165983"/>
                  <a:gd name="connsiteX35" fmla="*/ 134828 w 166138"/>
                  <a:gd name="connsiteY35" fmla="*/ 63202 h 165983"/>
                  <a:gd name="connsiteX36" fmla="*/ 125243 w 166138"/>
                  <a:gd name="connsiteY36" fmla="*/ 65117 h 165983"/>
                  <a:gd name="connsiteX37" fmla="*/ 106712 w 166138"/>
                  <a:gd name="connsiteY37" fmla="*/ 83630 h 165983"/>
                  <a:gd name="connsiteX38" fmla="*/ 87542 w 166138"/>
                  <a:gd name="connsiteY38" fmla="*/ 79162 h 165983"/>
                  <a:gd name="connsiteX39" fmla="*/ 83069 w 166138"/>
                  <a:gd name="connsiteY39" fmla="*/ 60010 h 165983"/>
                  <a:gd name="connsiteX40" fmla="*/ 101600 w 166138"/>
                  <a:gd name="connsiteY40" fmla="*/ 41496 h 165983"/>
                  <a:gd name="connsiteX41" fmla="*/ 103517 w 166138"/>
                  <a:gd name="connsiteY41" fmla="*/ 31920 h 165983"/>
                  <a:gd name="connsiteX42" fmla="*/ 95849 w 166138"/>
                  <a:gd name="connsiteY42" fmla="*/ 26175 h 165983"/>
                  <a:gd name="connsiteX43" fmla="*/ 44730 w 166138"/>
                  <a:gd name="connsiteY43" fmla="*/ 70862 h 165983"/>
                  <a:gd name="connsiteX44" fmla="*/ 46008 w 166138"/>
                  <a:gd name="connsiteY44" fmla="*/ 86184 h 165983"/>
                  <a:gd name="connsiteX45" fmla="*/ 46647 w 166138"/>
                  <a:gd name="connsiteY45" fmla="*/ 87461 h 165983"/>
                  <a:gd name="connsiteX46" fmla="*/ 46647 w 166138"/>
                  <a:gd name="connsiteY46" fmla="*/ 88738 h 165983"/>
                  <a:gd name="connsiteX47" fmla="*/ 20448 w 166138"/>
                  <a:gd name="connsiteY47" fmla="*/ 114912 h 165983"/>
                  <a:gd name="connsiteX48" fmla="*/ 12780 w 166138"/>
                  <a:gd name="connsiteY48" fmla="*/ 82992 h 165983"/>
                  <a:gd name="connsiteX49" fmla="*/ 83069 w 166138"/>
                  <a:gd name="connsiteY49" fmla="*/ 12768 h 165983"/>
                  <a:gd name="connsiteX50" fmla="*/ 153359 w 166138"/>
                  <a:gd name="connsiteY50" fmla="*/ 82992 h 165983"/>
                  <a:gd name="connsiteX51" fmla="*/ 83069 w 166138"/>
                  <a:gd name="connsiteY51" fmla="*/ 153216 h 165983"/>
                  <a:gd name="connsiteX52" fmla="*/ 83069 w 166138"/>
                  <a:gd name="connsiteY52" fmla="*/ 153216 h 165983"/>
                  <a:gd name="connsiteX53" fmla="*/ 83069 w 166138"/>
                  <a:gd name="connsiteY53" fmla="*/ 153216 h 165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66138" h="165983">
                    <a:moveTo>
                      <a:pt x="83069" y="0"/>
                    </a:moveTo>
                    <a:cubicBezTo>
                      <a:pt x="37062" y="0"/>
                      <a:pt x="0" y="37027"/>
                      <a:pt x="0" y="82992"/>
                    </a:cubicBezTo>
                    <a:cubicBezTo>
                      <a:pt x="0" y="128957"/>
                      <a:pt x="37062" y="165984"/>
                      <a:pt x="83069" y="165984"/>
                    </a:cubicBezTo>
                    <a:cubicBezTo>
                      <a:pt x="129077" y="165984"/>
                      <a:pt x="166138" y="128957"/>
                      <a:pt x="166138" y="82992"/>
                    </a:cubicBezTo>
                    <a:cubicBezTo>
                      <a:pt x="166138" y="37027"/>
                      <a:pt x="129077" y="0"/>
                      <a:pt x="83069" y="0"/>
                    </a:cubicBezTo>
                    <a:lnTo>
                      <a:pt x="83069" y="0"/>
                    </a:lnTo>
                    <a:close/>
                    <a:moveTo>
                      <a:pt x="27477" y="125765"/>
                    </a:moveTo>
                    <a:lnTo>
                      <a:pt x="58787" y="94483"/>
                    </a:lnTo>
                    <a:cubicBezTo>
                      <a:pt x="60705" y="92568"/>
                      <a:pt x="61343" y="90014"/>
                      <a:pt x="60065" y="87461"/>
                    </a:cubicBezTo>
                    <a:cubicBezTo>
                      <a:pt x="59426" y="86184"/>
                      <a:pt x="58787" y="84269"/>
                      <a:pt x="58787" y="82992"/>
                    </a:cubicBezTo>
                    <a:cubicBezTo>
                      <a:pt x="58787" y="82992"/>
                      <a:pt x="58787" y="82354"/>
                      <a:pt x="58787" y="81715"/>
                    </a:cubicBezTo>
                    <a:cubicBezTo>
                      <a:pt x="56871" y="72139"/>
                      <a:pt x="58787" y="61925"/>
                      <a:pt x="64538" y="53626"/>
                    </a:cubicBezTo>
                    <a:cubicBezTo>
                      <a:pt x="69650" y="46603"/>
                      <a:pt x="77318" y="41496"/>
                      <a:pt x="85625" y="39581"/>
                    </a:cubicBezTo>
                    <a:lnTo>
                      <a:pt x="71567" y="52987"/>
                    </a:lnTo>
                    <a:cubicBezTo>
                      <a:pt x="70289" y="54264"/>
                      <a:pt x="69650" y="56818"/>
                      <a:pt x="69650" y="58733"/>
                    </a:cubicBezTo>
                    <a:lnTo>
                      <a:pt x="76040" y="85546"/>
                    </a:lnTo>
                    <a:cubicBezTo>
                      <a:pt x="76679" y="88099"/>
                      <a:pt x="78596" y="90014"/>
                      <a:pt x="81152" y="90653"/>
                    </a:cubicBezTo>
                    <a:lnTo>
                      <a:pt x="107990" y="97037"/>
                    </a:lnTo>
                    <a:cubicBezTo>
                      <a:pt x="109907" y="97675"/>
                      <a:pt x="112463" y="97037"/>
                      <a:pt x="113741" y="95121"/>
                    </a:cubicBezTo>
                    <a:lnTo>
                      <a:pt x="127160" y="81715"/>
                    </a:lnTo>
                    <a:cubicBezTo>
                      <a:pt x="125882" y="88099"/>
                      <a:pt x="122687" y="94483"/>
                      <a:pt x="117575" y="98952"/>
                    </a:cubicBezTo>
                    <a:cubicBezTo>
                      <a:pt x="109268" y="107889"/>
                      <a:pt x="96488" y="111081"/>
                      <a:pt x="84347" y="108528"/>
                    </a:cubicBezTo>
                    <a:lnTo>
                      <a:pt x="83708" y="108528"/>
                    </a:lnTo>
                    <a:cubicBezTo>
                      <a:pt x="82430" y="107889"/>
                      <a:pt x="80513" y="107889"/>
                      <a:pt x="79235" y="107251"/>
                    </a:cubicBezTo>
                    <a:cubicBezTo>
                      <a:pt x="76679" y="105974"/>
                      <a:pt x="74123" y="106613"/>
                      <a:pt x="72206" y="108528"/>
                    </a:cubicBezTo>
                    <a:lnTo>
                      <a:pt x="40896" y="139809"/>
                    </a:lnTo>
                    <a:cubicBezTo>
                      <a:pt x="35784" y="135979"/>
                      <a:pt x="31311" y="130872"/>
                      <a:pt x="27477" y="125765"/>
                    </a:cubicBezTo>
                    <a:lnTo>
                      <a:pt x="27477" y="125765"/>
                    </a:lnTo>
                    <a:close/>
                    <a:moveTo>
                      <a:pt x="83069" y="153216"/>
                    </a:moveTo>
                    <a:cubicBezTo>
                      <a:pt x="72206" y="153216"/>
                      <a:pt x="61982" y="150662"/>
                      <a:pt x="52397" y="146193"/>
                    </a:cubicBezTo>
                    <a:lnTo>
                      <a:pt x="78596" y="120019"/>
                    </a:lnTo>
                    <a:lnTo>
                      <a:pt x="80513" y="120657"/>
                    </a:lnTo>
                    <a:lnTo>
                      <a:pt x="81152" y="120657"/>
                    </a:lnTo>
                    <a:cubicBezTo>
                      <a:pt x="106712" y="127041"/>
                      <a:pt x="132911" y="111720"/>
                      <a:pt x="139301" y="86184"/>
                    </a:cubicBezTo>
                    <a:cubicBezTo>
                      <a:pt x="140579" y="81077"/>
                      <a:pt x="141218" y="75970"/>
                      <a:pt x="140579" y="70862"/>
                    </a:cubicBezTo>
                    <a:cubicBezTo>
                      <a:pt x="140579" y="67670"/>
                      <a:pt x="138023" y="64478"/>
                      <a:pt x="134828" y="63202"/>
                    </a:cubicBezTo>
                    <a:cubicBezTo>
                      <a:pt x="131633" y="61925"/>
                      <a:pt x="127799" y="62563"/>
                      <a:pt x="125243" y="65117"/>
                    </a:cubicBezTo>
                    <a:lnTo>
                      <a:pt x="106712" y="83630"/>
                    </a:lnTo>
                    <a:lnTo>
                      <a:pt x="87542" y="79162"/>
                    </a:lnTo>
                    <a:lnTo>
                      <a:pt x="83069" y="60010"/>
                    </a:lnTo>
                    <a:lnTo>
                      <a:pt x="101600" y="41496"/>
                    </a:lnTo>
                    <a:cubicBezTo>
                      <a:pt x="104156" y="38943"/>
                      <a:pt x="104795" y="35751"/>
                      <a:pt x="103517" y="31920"/>
                    </a:cubicBezTo>
                    <a:cubicBezTo>
                      <a:pt x="102239" y="28728"/>
                      <a:pt x="99044" y="26175"/>
                      <a:pt x="95849" y="26175"/>
                    </a:cubicBezTo>
                    <a:cubicBezTo>
                      <a:pt x="69650" y="24259"/>
                      <a:pt x="46647" y="44050"/>
                      <a:pt x="44730" y="70862"/>
                    </a:cubicBezTo>
                    <a:cubicBezTo>
                      <a:pt x="44091" y="75970"/>
                      <a:pt x="44730" y="81077"/>
                      <a:pt x="46008" y="86184"/>
                    </a:cubicBezTo>
                    <a:cubicBezTo>
                      <a:pt x="46008" y="86822"/>
                      <a:pt x="46008" y="86822"/>
                      <a:pt x="46647" y="87461"/>
                    </a:cubicBezTo>
                    <a:lnTo>
                      <a:pt x="46647" y="88738"/>
                    </a:lnTo>
                    <a:lnTo>
                      <a:pt x="20448" y="114912"/>
                    </a:lnTo>
                    <a:cubicBezTo>
                      <a:pt x="15336" y="105336"/>
                      <a:pt x="12780" y="93845"/>
                      <a:pt x="12780" y="82992"/>
                    </a:cubicBezTo>
                    <a:cubicBezTo>
                      <a:pt x="12780" y="44050"/>
                      <a:pt x="44091" y="12768"/>
                      <a:pt x="83069" y="12768"/>
                    </a:cubicBezTo>
                    <a:cubicBezTo>
                      <a:pt x="122048" y="12768"/>
                      <a:pt x="153359" y="44050"/>
                      <a:pt x="153359" y="82992"/>
                    </a:cubicBezTo>
                    <a:cubicBezTo>
                      <a:pt x="153359" y="121934"/>
                      <a:pt x="122048" y="153216"/>
                      <a:pt x="83069" y="153216"/>
                    </a:cubicBezTo>
                    <a:cubicBezTo>
                      <a:pt x="83069" y="153216"/>
                      <a:pt x="83069" y="153216"/>
                      <a:pt x="83069" y="153216"/>
                    </a:cubicBezTo>
                    <a:lnTo>
                      <a:pt x="83069" y="153216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Graphic 4">
                <a:extLst>
                  <a:ext uri="{FF2B5EF4-FFF2-40B4-BE49-F238E27FC236}">
                    <a16:creationId xmlns:a16="http://schemas.microsoft.com/office/drawing/2014/main" id="{BAE084B8-B3E7-6F4B-2910-1352F778E1D9}"/>
                  </a:ext>
                </a:extLst>
              </p:cNvPr>
              <p:cNvSpPr/>
              <p:nvPr/>
            </p:nvSpPr>
            <p:spPr>
              <a:xfrm>
                <a:off x="1572321" y="4364131"/>
                <a:ext cx="247532" cy="250373"/>
              </a:xfrm>
              <a:custGeom>
                <a:avLst/>
                <a:gdLst>
                  <a:gd name="connsiteX0" fmla="*/ 240503 w 247532"/>
                  <a:gd name="connsiteY0" fmla="*/ 102903 h 250373"/>
                  <a:gd name="connsiteX1" fmla="*/ 224529 w 247532"/>
                  <a:gd name="connsiteY1" fmla="*/ 97158 h 250373"/>
                  <a:gd name="connsiteX2" fmla="*/ 218778 w 247532"/>
                  <a:gd name="connsiteY2" fmla="*/ 81198 h 250373"/>
                  <a:gd name="connsiteX3" fmla="*/ 227724 w 247532"/>
                  <a:gd name="connsiteY3" fmla="*/ 66515 h 250373"/>
                  <a:gd name="connsiteX4" fmla="*/ 227085 w 247532"/>
                  <a:gd name="connsiteY4" fmla="*/ 54385 h 250373"/>
                  <a:gd name="connsiteX5" fmla="*/ 211110 w 247532"/>
                  <a:gd name="connsiteY5" fmla="*/ 35233 h 250373"/>
                  <a:gd name="connsiteX6" fmla="*/ 198969 w 247532"/>
                  <a:gd name="connsiteY6" fmla="*/ 32041 h 250373"/>
                  <a:gd name="connsiteX7" fmla="*/ 182994 w 247532"/>
                  <a:gd name="connsiteY7" fmla="*/ 38425 h 250373"/>
                  <a:gd name="connsiteX8" fmla="*/ 168297 w 247532"/>
                  <a:gd name="connsiteY8" fmla="*/ 30126 h 250373"/>
                  <a:gd name="connsiteX9" fmla="*/ 165741 w 247532"/>
                  <a:gd name="connsiteY9" fmla="*/ 13527 h 250373"/>
                  <a:gd name="connsiteX10" fmla="*/ 156795 w 247532"/>
                  <a:gd name="connsiteY10" fmla="*/ 4590 h 250373"/>
                  <a:gd name="connsiteX11" fmla="*/ 132513 w 247532"/>
                  <a:gd name="connsiteY11" fmla="*/ 121 h 250373"/>
                  <a:gd name="connsiteX12" fmla="*/ 121012 w 247532"/>
                  <a:gd name="connsiteY12" fmla="*/ 5228 h 250373"/>
                  <a:gd name="connsiteX13" fmla="*/ 112705 w 247532"/>
                  <a:gd name="connsiteY13" fmla="*/ 19911 h 250373"/>
                  <a:gd name="connsiteX14" fmla="*/ 96091 w 247532"/>
                  <a:gd name="connsiteY14" fmla="*/ 23103 h 250373"/>
                  <a:gd name="connsiteX15" fmla="*/ 83311 w 247532"/>
                  <a:gd name="connsiteY15" fmla="*/ 11612 h 250373"/>
                  <a:gd name="connsiteX16" fmla="*/ 71170 w 247532"/>
                  <a:gd name="connsiteY16" fmla="*/ 10335 h 250373"/>
                  <a:gd name="connsiteX17" fmla="*/ 49444 w 247532"/>
                  <a:gd name="connsiteY17" fmla="*/ 22465 h 250373"/>
                  <a:gd name="connsiteX18" fmla="*/ 44332 w 247532"/>
                  <a:gd name="connsiteY18" fmla="*/ 33956 h 250373"/>
                  <a:gd name="connsiteX19" fmla="*/ 47527 w 247532"/>
                  <a:gd name="connsiteY19" fmla="*/ 50555 h 250373"/>
                  <a:gd name="connsiteX20" fmla="*/ 36664 w 247532"/>
                  <a:gd name="connsiteY20" fmla="*/ 63323 h 250373"/>
                  <a:gd name="connsiteX21" fmla="*/ 19412 w 247532"/>
                  <a:gd name="connsiteY21" fmla="*/ 63323 h 250373"/>
                  <a:gd name="connsiteX22" fmla="*/ 9188 w 247532"/>
                  <a:gd name="connsiteY22" fmla="*/ 70345 h 250373"/>
                  <a:gd name="connsiteX23" fmla="*/ 881 w 247532"/>
                  <a:gd name="connsiteY23" fmla="*/ 93327 h 250373"/>
                  <a:gd name="connsiteX24" fmla="*/ 4076 w 247532"/>
                  <a:gd name="connsiteY24" fmla="*/ 105457 h 250373"/>
                  <a:gd name="connsiteX25" fmla="*/ 17495 w 247532"/>
                  <a:gd name="connsiteY25" fmla="*/ 116309 h 250373"/>
                  <a:gd name="connsiteX26" fmla="*/ 17495 w 247532"/>
                  <a:gd name="connsiteY26" fmla="*/ 133546 h 250373"/>
                  <a:gd name="connsiteX27" fmla="*/ 4076 w 247532"/>
                  <a:gd name="connsiteY27" fmla="*/ 144399 h 250373"/>
                  <a:gd name="connsiteX28" fmla="*/ 881 w 247532"/>
                  <a:gd name="connsiteY28" fmla="*/ 156529 h 250373"/>
                  <a:gd name="connsiteX29" fmla="*/ 9188 w 247532"/>
                  <a:gd name="connsiteY29" fmla="*/ 179511 h 250373"/>
                  <a:gd name="connsiteX30" fmla="*/ 19412 w 247532"/>
                  <a:gd name="connsiteY30" fmla="*/ 186533 h 250373"/>
                  <a:gd name="connsiteX31" fmla="*/ 36664 w 247532"/>
                  <a:gd name="connsiteY31" fmla="*/ 186533 h 250373"/>
                  <a:gd name="connsiteX32" fmla="*/ 47527 w 247532"/>
                  <a:gd name="connsiteY32" fmla="*/ 199301 h 250373"/>
                  <a:gd name="connsiteX33" fmla="*/ 44332 w 247532"/>
                  <a:gd name="connsiteY33" fmla="*/ 215899 h 250373"/>
                  <a:gd name="connsiteX34" fmla="*/ 49444 w 247532"/>
                  <a:gd name="connsiteY34" fmla="*/ 227391 h 250373"/>
                  <a:gd name="connsiteX35" fmla="*/ 71170 w 247532"/>
                  <a:gd name="connsiteY35" fmla="*/ 239520 h 250373"/>
                  <a:gd name="connsiteX36" fmla="*/ 83311 w 247532"/>
                  <a:gd name="connsiteY36" fmla="*/ 238243 h 250373"/>
                  <a:gd name="connsiteX37" fmla="*/ 96091 w 247532"/>
                  <a:gd name="connsiteY37" fmla="*/ 226752 h 250373"/>
                  <a:gd name="connsiteX38" fmla="*/ 112705 w 247532"/>
                  <a:gd name="connsiteY38" fmla="*/ 229944 h 250373"/>
                  <a:gd name="connsiteX39" fmla="*/ 121012 w 247532"/>
                  <a:gd name="connsiteY39" fmla="*/ 244627 h 250373"/>
                  <a:gd name="connsiteX40" fmla="*/ 130596 w 247532"/>
                  <a:gd name="connsiteY40" fmla="*/ 250373 h 250373"/>
                  <a:gd name="connsiteX41" fmla="*/ 132513 w 247532"/>
                  <a:gd name="connsiteY41" fmla="*/ 250373 h 250373"/>
                  <a:gd name="connsiteX42" fmla="*/ 156795 w 247532"/>
                  <a:gd name="connsiteY42" fmla="*/ 245904 h 250373"/>
                  <a:gd name="connsiteX43" fmla="*/ 165741 w 247532"/>
                  <a:gd name="connsiteY43" fmla="*/ 236967 h 250373"/>
                  <a:gd name="connsiteX44" fmla="*/ 168297 w 247532"/>
                  <a:gd name="connsiteY44" fmla="*/ 219730 h 250373"/>
                  <a:gd name="connsiteX45" fmla="*/ 182994 w 247532"/>
                  <a:gd name="connsiteY45" fmla="*/ 211431 h 250373"/>
                  <a:gd name="connsiteX46" fmla="*/ 198969 w 247532"/>
                  <a:gd name="connsiteY46" fmla="*/ 217815 h 250373"/>
                  <a:gd name="connsiteX47" fmla="*/ 211110 w 247532"/>
                  <a:gd name="connsiteY47" fmla="*/ 214623 h 250373"/>
                  <a:gd name="connsiteX48" fmla="*/ 227085 w 247532"/>
                  <a:gd name="connsiteY48" fmla="*/ 195471 h 250373"/>
                  <a:gd name="connsiteX49" fmla="*/ 227724 w 247532"/>
                  <a:gd name="connsiteY49" fmla="*/ 182703 h 250373"/>
                  <a:gd name="connsiteX50" fmla="*/ 218778 w 247532"/>
                  <a:gd name="connsiteY50" fmla="*/ 168020 h 250373"/>
                  <a:gd name="connsiteX51" fmla="*/ 224529 w 247532"/>
                  <a:gd name="connsiteY51" fmla="*/ 152060 h 250373"/>
                  <a:gd name="connsiteX52" fmla="*/ 240503 w 247532"/>
                  <a:gd name="connsiteY52" fmla="*/ 146314 h 250373"/>
                  <a:gd name="connsiteX53" fmla="*/ 247532 w 247532"/>
                  <a:gd name="connsiteY53" fmla="*/ 136100 h 250373"/>
                  <a:gd name="connsiteX54" fmla="*/ 247532 w 247532"/>
                  <a:gd name="connsiteY54" fmla="*/ 111202 h 250373"/>
                  <a:gd name="connsiteX55" fmla="*/ 240503 w 247532"/>
                  <a:gd name="connsiteY55" fmla="*/ 102903 h 250373"/>
                  <a:gd name="connsiteX56" fmla="*/ 234752 w 247532"/>
                  <a:gd name="connsiteY56" fmla="*/ 136100 h 250373"/>
                  <a:gd name="connsiteX57" fmla="*/ 216861 w 247532"/>
                  <a:gd name="connsiteY57" fmla="*/ 141845 h 250373"/>
                  <a:gd name="connsiteX58" fmla="*/ 213027 w 247532"/>
                  <a:gd name="connsiteY58" fmla="*/ 145676 h 250373"/>
                  <a:gd name="connsiteX59" fmla="*/ 205359 w 247532"/>
                  <a:gd name="connsiteY59" fmla="*/ 167381 h 250373"/>
                  <a:gd name="connsiteX60" fmla="*/ 205998 w 247532"/>
                  <a:gd name="connsiteY60" fmla="*/ 173127 h 250373"/>
                  <a:gd name="connsiteX61" fmla="*/ 215583 w 247532"/>
                  <a:gd name="connsiteY61" fmla="*/ 189087 h 250373"/>
                  <a:gd name="connsiteX62" fmla="*/ 201525 w 247532"/>
                  <a:gd name="connsiteY62" fmla="*/ 205685 h 250373"/>
                  <a:gd name="connsiteX63" fmla="*/ 184272 w 247532"/>
                  <a:gd name="connsiteY63" fmla="*/ 198663 h 250373"/>
                  <a:gd name="connsiteX64" fmla="*/ 178521 w 247532"/>
                  <a:gd name="connsiteY64" fmla="*/ 199301 h 250373"/>
                  <a:gd name="connsiteX65" fmla="*/ 158712 w 247532"/>
                  <a:gd name="connsiteY65" fmla="*/ 210792 h 250373"/>
                  <a:gd name="connsiteX66" fmla="*/ 155517 w 247532"/>
                  <a:gd name="connsiteY66" fmla="*/ 215261 h 250373"/>
                  <a:gd name="connsiteX67" fmla="*/ 152322 w 247532"/>
                  <a:gd name="connsiteY67" fmla="*/ 233775 h 250373"/>
                  <a:gd name="connsiteX68" fmla="*/ 130596 w 247532"/>
                  <a:gd name="connsiteY68" fmla="*/ 237605 h 250373"/>
                  <a:gd name="connsiteX69" fmla="*/ 121651 w 247532"/>
                  <a:gd name="connsiteY69" fmla="*/ 221007 h 250373"/>
                  <a:gd name="connsiteX70" fmla="*/ 117178 w 247532"/>
                  <a:gd name="connsiteY70" fmla="*/ 217815 h 250373"/>
                  <a:gd name="connsiteX71" fmla="*/ 94174 w 247532"/>
                  <a:gd name="connsiteY71" fmla="*/ 213984 h 250373"/>
                  <a:gd name="connsiteX72" fmla="*/ 92896 w 247532"/>
                  <a:gd name="connsiteY72" fmla="*/ 213984 h 250373"/>
                  <a:gd name="connsiteX73" fmla="*/ 88423 w 247532"/>
                  <a:gd name="connsiteY73" fmla="*/ 215261 h 250373"/>
                  <a:gd name="connsiteX74" fmla="*/ 74365 w 247532"/>
                  <a:gd name="connsiteY74" fmla="*/ 227391 h 250373"/>
                  <a:gd name="connsiteX75" fmla="*/ 55195 w 247532"/>
                  <a:gd name="connsiteY75" fmla="*/ 216538 h 250373"/>
                  <a:gd name="connsiteX76" fmla="*/ 59029 w 247532"/>
                  <a:gd name="connsiteY76" fmla="*/ 198024 h 250373"/>
                  <a:gd name="connsiteX77" fmla="*/ 57751 w 247532"/>
                  <a:gd name="connsiteY77" fmla="*/ 192917 h 250373"/>
                  <a:gd name="connsiteX78" fmla="*/ 43054 w 247532"/>
                  <a:gd name="connsiteY78" fmla="*/ 175042 h 250373"/>
                  <a:gd name="connsiteX79" fmla="*/ 37942 w 247532"/>
                  <a:gd name="connsiteY79" fmla="*/ 172488 h 250373"/>
                  <a:gd name="connsiteX80" fmla="*/ 19412 w 247532"/>
                  <a:gd name="connsiteY80" fmla="*/ 173127 h 250373"/>
                  <a:gd name="connsiteX81" fmla="*/ 12383 w 247532"/>
                  <a:gd name="connsiteY81" fmla="*/ 153337 h 250373"/>
                  <a:gd name="connsiteX82" fmla="*/ 27079 w 247532"/>
                  <a:gd name="connsiteY82" fmla="*/ 141845 h 250373"/>
                  <a:gd name="connsiteX83" fmla="*/ 29635 w 247532"/>
                  <a:gd name="connsiteY83" fmla="*/ 136738 h 250373"/>
                  <a:gd name="connsiteX84" fmla="*/ 29635 w 247532"/>
                  <a:gd name="connsiteY84" fmla="*/ 113756 h 250373"/>
                  <a:gd name="connsiteX85" fmla="*/ 27079 w 247532"/>
                  <a:gd name="connsiteY85" fmla="*/ 108649 h 250373"/>
                  <a:gd name="connsiteX86" fmla="*/ 12383 w 247532"/>
                  <a:gd name="connsiteY86" fmla="*/ 97158 h 250373"/>
                  <a:gd name="connsiteX87" fmla="*/ 20051 w 247532"/>
                  <a:gd name="connsiteY87" fmla="*/ 76729 h 250373"/>
                  <a:gd name="connsiteX88" fmla="*/ 38581 w 247532"/>
                  <a:gd name="connsiteY88" fmla="*/ 77367 h 250373"/>
                  <a:gd name="connsiteX89" fmla="*/ 43693 w 247532"/>
                  <a:gd name="connsiteY89" fmla="*/ 74814 h 250373"/>
                  <a:gd name="connsiteX90" fmla="*/ 58390 w 247532"/>
                  <a:gd name="connsiteY90" fmla="*/ 56939 h 250373"/>
                  <a:gd name="connsiteX91" fmla="*/ 59668 w 247532"/>
                  <a:gd name="connsiteY91" fmla="*/ 51831 h 250373"/>
                  <a:gd name="connsiteX92" fmla="*/ 55834 w 247532"/>
                  <a:gd name="connsiteY92" fmla="*/ 33318 h 250373"/>
                  <a:gd name="connsiteX93" fmla="*/ 75004 w 247532"/>
                  <a:gd name="connsiteY93" fmla="*/ 22465 h 250373"/>
                  <a:gd name="connsiteX94" fmla="*/ 89062 w 247532"/>
                  <a:gd name="connsiteY94" fmla="*/ 34595 h 250373"/>
                  <a:gd name="connsiteX95" fmla="*/ 94174 w 247532"/>
                  <a:gd name="connsiteY95" fmla="*/ 35871 h 250373"/>
                  <a:gd name="connsiteX96" fmla="*/ 117178 w 247532"/>
                  <a:gd name="connsiteY96" fmla="*/ 32041 h 250373"/>
                  <a:gd name="connsiteX97" fmla="*/ 121651 w 247532"/>
                  <a:gd name="connsiteY97" fmla="*/ 28849 h 250373"/>
                  <a:gd name="connsiteX98" fmla="*/ 130596 w 247532"/>
                  <a:gd name="connsiteY98" fmla="*/ 12251 h 250373"/>
                  <a:gd name="connsiteX99" fmla="*/ 152322 w 247532"/>
                  <a:gd name="connsiteY99" fmla="*/ 16081 h 250373"/>
                  <a:gd name="connsiteX100" fmla="*/ 155517 w 247532"/>
                  <a:gd name="connsiteY100" fmla="*/ 34595 h 250373"/>
                  <a:gd name="connsiteX101" fmla="*/ 158712 w 247532"/>
                  <a:gd name="connsiteY101" fmla="*/ 39063 h 250373"/>
                  <a:gd name="connsiteX102" fmla="*/ 178521 w 247532"/>
                  <a:gd name="connsiteY102" fmla="*/ 50555 h 250373"/>
                  <a:gd name="connsiteX103" fmla="*/ 184272 w 247532"/>
                  <a:gd name="connsiteY103" fmla="*/ 51193 h 250373"/>
                  <a:gd name="connsiteX104" fmla="*/ 201525 w 247532"/>
                  <a:gd name="connsiteY104" fmla="*/ 44171 h 250373"/>
                  <a:gd name="connsiteX105" fmla="*/ 215583 w 247532"/>
                  <a:gd name="connsiteY105" fmla="*/ 60769 h 250373"/>
                  <a:gd name="connsiteX106" fmla="*/ 205998 w 247532"/>
                  <a:gd name="connsiteY106" fmla="*/ 76729 h 250373"/>
                  <a:gd name="connsiteX107" fmla="*/ 205359 w 247532"/>
                  <a:gd name="connsiteY107" fmla="*/ 82474 h 250373"/>
                  <a:gd name="connsiteX108" fmla="*/ 213027 w 247532"/>
                  <a:gd name="connsiteY108" fmla="*/ 104180 h 250373"/>
                  <a:gd name="connsiteX109" fmla="*/ 216861 w 247532"/>
                  <a:gd name="connsiteY109" fmla="*/ 108010 h 250373"/>
                  <a:gd name="connsiteX110" fmla="*/ 234752 w 247532"/>
                  <a:gd name="connsiteY110" fmla="*/ 114394 h 250373"/>
                  <a:gd name="connsiteX111" fmla="*/ 234752 w 247532"/>
                  <a:gd name="connsiteY111" fmla="*/ 136100 h 250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247532" h="250373">
                    <a:moveTo>
                      <a:pt x="240503" y="102903"/>
                    </a:moveTo>
                    <a:lnTo>
                      <a:pt x="224529" y="97158"/>
                    </a:lnTo>
                    <a:lnTo>
                      <a:pt x="218778" y="81198"/>
                    </a:lnTo>
                    <a:lnTo>
                      <a:pt x="227724" y="66515"/>
                    </a:lnTo>
                    <a:cubicBezTo>
                      <a:pt x="230280" y="62684"/>
                      <a:pt x="229640" y="57577"/>
                      <a:pt x="227085" y="54385"/>
                    </a:cubicBezTo>
                    <a:lnTo>
                      <a:pt x="211110" y="35233"/>
                    </a:lnTo>
                    <a:cubicBezTo>
                      <a:pt x="207915" y="32041"/>
                      <a:pt x="203442" y="30764"/>
                      <a:pt x="198969" y="32041"/>
                    </a:cubicBezTo>
                    <a:lnTo>
                      <a:pt x="182994" y="38425"/>
                    </a:lnTo>
                    <a:lnTo>
                      <a:pt x="168297" y="30126"/>
                    </a:lnTo>
                    <a:lnTo>
                      <a:pt x="165741" y="13527"/>
                    </a:lnTo>
                    <a:cubicBezTo>
                      <a:pt x="165102" y="9059"/>
                      <a:pt x="161268" y="5228"/>
                      <a:pt x="156795" y="4590"/>
                    </a:cubicBezTo>
                    <a:lnTo>
                      <a:pt x="132513" y="121"/>
                    </a:lnTo>
                    <a:cubicBezTo>
                      <a:pt x="128041" y="-517"/>
                      <a:pt x="123567" y="1398"/>
                      <a:pt x="121012" y="5228"/>
                    </a:cubicBezTo>
                    <a:lnTo>
                      <a:pt x="112705" y="19911"/>
                    </a:lnTo>
                    <a:lnTo>
                      <a:pt x="96091" y="23103"/>
                    </a:lnTo>
                    <a:lnTo>
                      <a:pt x="83311" y="11612"/>
                    </a:lnTo>
                    <a:cubicBezTo>
                      <a:pt x="80116" y="8420"/>
                      <a:pt x="75004" y="8420"/>
                      <a:pt x="71170" y="10335"/>
                    </a:cubicBezTo>
                    <a:lnTo>
                      <a:pt x="49444" y="22465"/>
                    </a:lnTo>
                    <a:cubicBezTo>
                      <a:pt x="45610" y="25019"/>
                      <a:pt x="43693" y="29487"/>
                      <a:pt x="44332" y="33956"/>
                    </a:cubicBezTo>
                    <a:lnTo>
                      <a:pt x="47527" y="50555"/>
                    </a:lnTo>
                    <a:lnTo>
                      <a:pt x="36664" y="63323"/>
                    </a:lnTo>
                    <a:lnTo>
                      <a:pt x="19412" y="63323"/>
                    </a:lnTo>
                    <a:cubicBezTo>
                      <a:pt x="14939" y="63323"/>
                      <a:pt x="10466" y="65876"/>
                      <a:pt x="9188" y="70345"/>
                    </a:cubicBezTo>
                    <a:lnTo>
                      <a:pt x="881" y="93327"/>
                    </a:lnTo>
                    <a:cubicBezTo>
                      <a:pt x="-1036" y="97796"/>
                      <a:pt x="881" y="102265"/>
                      <a:pt x="4076" y="105457"/>
                    </a:cubicBezTo>
                    <a:lnTo>
                      <a:pt x="17495" y="116309"/>
                    </a:lnTo>
                    <a:lnTo>
                      <a:pt x="17495" y="133546"/>
                    </a:lnTo>
                    <a:lnTo>
                      <a:pt x="4076" y="144399"/>
                    </a:lnTo>
                    <a:cubicBezTo>
                      <a:pt x="242" y="146953"/>
                      <a:pt x="-1036" y="152060"/>
                      <a:pt x="881" y="156529"/>
                    </a:cubicBezTo>
                    <a:lnTo>
                      <a:pt x="9188" y="179511"/>
                    </a:lnTo>
                    <a:cubicBezTo>
                      <a:pt x="11105" y="183980"/>
                      <a:pt x="14939" y="186533"/>
                      <a:pt x="19412" y="186533"/>
                    </a:cubicBezTo>
                    <a:lnTo>
                      <a:pt x="36664" y="186533"/>
                    </a:lnTo>
                    <a:lnTo>
                      <a:pt x="47527" y="199301"/>
                    </a:lnTo>
                    <a:lnTo>
                      <a:pt x="44332" y="215899"/>
                    </a:lnTo>
                    <a:cubicBezTo>
                      <a:pt x="43693" y="220368"/>
                      <a:pt x="45610" y="224837"/>
                      <a:pt x="49444" y="227391"/>
                    </a:cubicBezTo>
                    <a:lnTo>
                      <a:pt x="71170" y="239520"/>
                    </a:lnTo>
                    <a:cubicBezTo>
                      <a:pt x="75004" y="242074"/>
                      <a:pt x="80116" y="241435"/>
                      <a:pt x="83311" y="238243"/>
                    </a:cubicBezTo>
                    <a:lnTo>
                      <a:pt x="96091" y="226752"/>
                    </a:lnTo>
                    <a:lnTo>
                      <a:pt x="112705" y="229944"/>
                    </a:lnTo>
                    <a:lnTo>
                      <a:pt x="121012" y="244627"/>
                    </a:lnTo>
                    <a:cubicBezTo>
                      <a:pt x="122928" y="247819"/>
                      <a:pt x="126762" y="250373"/>
                      <a:pt x="130596" y="250373"/>
                    </a:cubicBezTo>
                    <a:lnTo>
                      <a:pt x="132513" y="250373"/>
                    </a:lnTo>
                    <a:lnTo>
                      <a:pt x="156795" y="245904"/>
                    </a:lnTo>
                    <a:cubicBezTo>
                      <a:pt x="161268" y="245266"/>
                      <a:pt x="165102" y="241435"/>
                      <a:pt x="165741" y="236967"/>
                    </a:cubicBezTo>
                    <a:lnTo>
                      <a:pt x="168297" y="219730"/>
                    </a:lnTo>
                    <a:lnTo>
                      <a:pt x="182994" y="211431"/>
                    </a:lnTo>
                    <a:lnTo>
                      <a:pt x="198969" y="217815"/>
                    </a:lnTo>
                    <a:cubicBezTo>
                      <a:pt x="203442" y="219730"/>
                      <a:pt x="207915" y="218453"/>
                      <a:pt x="211110" y="214623"/>
                    </a:cubicBezTo>
                    <a:lnTo>
                      <a:pt x="227085" y="195471"/>
                    </a:lnTo>
                    <a:cubicBezTo>
                      <a:pt x="230280" y="191640"/>
                      <a:pt x="230280" y="186533"/>
                      <a:pt x="227724" y="182703"/>
                    </a:cubicBezTo>
                    <a:lnTo>
                      <a:pt x="218778" y="168020"/>
                    </a:lnTo>
                    <a:lnTo>
                      <a:pt x="224529" y="152060"/>
                    </a:lnTo>
                    <a:lnTo>
                      <a:pt x="240503" y="146314"/>
                    </a:lnTo>
                    <a:cubicBezTo>
                      <a:pt x="244976" y="145037"/>
                      <a:pt x="247532" y="140569"/>
                      <a:pt x="247532" y="136100"/>
                    </a:cubicBezTo>
                    <a:lnTo>
                      <a:pt x="247532" y="111202"/>
                    </a:lnTo>
                    <a:cubicBezTo>
                      <a:pt x="247532" y="108649"/>
                      <a:pt x="244337" y="104180"/>
                      <a:pt x="240503" y="102903"/>
                    </a:cubicBezTo>
                    <a:close/>
                    <a:moveTo>
                      <a:pt x="234752" y="136100"/>
                    </a:moveTo>
                    <a:lnTo>
                      <a:pt x="216861" y="141845"/>
                    </a:lnTo>
                    <a:cubicBezTo>
                      <a:pt x="214944" y="142484"/>
                      <a:pt x="213666" y="143761"/>
                      <a:pt x="213027" y="145676"/>
                    </a:cubicBezTo>
                    <a:lnTo>
                      <a:pt x="205359" y="167381"/>
                    </a:lnTo>
                    <a:cubicBezTo>
                      <a:pt x="204720" y="169296"/>
                      <a:pt x="204720" y="171212"/>
                      <a:pt x="205998" y="173127"/>
                    </a:cubicBezTo>
                    <a:lnTo>
                      <a:pt x="215583" y="189087"/>
                    </a:lnTo>
                    <a:lnTo>
                      <a:pt x="201525" y="205685"/>
                    </a:lnTo>
                    <a:lnTo>
                      <a:pt x="184272" y="198663"/>
                    </a:lnTo>
                    <a:cubicBezTo>
                      <a:pt x="182355" y="198024"/>
                      <a:pt x="180438" y="198024"/>
                      <a:pt x="178521" y="199301"/>
                    </a:cubicBezTo>
                    <a:lnTo>
                      <a:pt x="158712" y="210792"/>
                    </a:lnTo>
                    <a:cubicBezTo>
                      <a:pt x="156795" y="212069"/>
                      <a:pt x="156156" y="213346"/>
                      <a:pt x="155517" y="215261"/>
                    </a:cubicBezTo>
                    <a:lnTo>
                      <a:pt x="152322" y="233775"/>
                    </a:lnTo>
                    <a:lnTo>
                      <a:pt x="130596" y="237605"/>
                    </a:lnTo>
                    <a:lnTo>
                      <a:pt x="121651" y="221007"/>
                    </a:lnTo>
                    <a:cubicBezTo>
                      <a:pt x="121012" y="219091"/>
                      <a:pt x="119095" y="218453"/>
                      <a:pt x="117178" y="217815"/>
                    </a:cubicBezTo>
                    <a:lnTo>
                      <a:pt x="94174" y="213984"/>
                    </a:lnTo>
                    <a:lnTo>
                      <a:pt x="92896" y="213984"/>
                    </a:lnTo>
                    <a:cubicBezTo>
                      <a:pt x="91618" y="213984"/>
                      <a:pt x="89701" y="214623"/>
                      <a:pt x="88423" y="215261"/>
                    </a:cubicBezTo>
                    <a:lnTo>
                      <a:pt x="74365" y="227391"/>
                    </a:lnTo>
                    <a:lnTo>
                      <a:pt x="55195" y="216538"/>
                    </a:lnTo>
                    <a:lnTo>
                      <a:pt x="59029" y="198024"/>
                    </a:lnTo>
                    <a:cubicBezTo>
                      <a:pt x="59668" y="196109"/>
                      <a:pt x="59029" y="194194"/>
                      <a:pt x="57751" y="192917"/>
                    </a:cubicBezTo>
                    <a:lnTo>
                      <a:pt x="43054" y="175042"/>
                    </a:lnTo>
                    <a:cubicBezTo>
                      <a:pt x="41776" y="173765"/>
                      <a:pt x="39859" y="172488"/>
                      <a:pt x="37942" y="172488"/>
                    </a:cubicBezTo>
                    <a:lnTo>
                      <a:pt x="19412" y="173127"/>
                    </a:lnTo>
                    <a:lnTo>
                      <a:pt x="12383" y="153337"/>
                    </a:lnTo>
                    <a:lnTo>
                      <a:pt x="27079" y="141845"/>
                    </a:lnTo>
                    <a:cubicBezTo>
                      <a:pt x="28357" y="140569"/>
                      <a:pt x="29635" y="138653"/>
                      <a:pt x="29635" y="136738"/>
                    </a:cubicBezTo>
                    <a:lnTo>
                      <a:pt x="29635" y="113756"/>
                    </a:lnTo>
                    <a:cubicBezTo>
                      <a:pt x="29635" y="111841"/>
                      <a:pt x="28997" y="109926"/>
                      <a:pt x="27079" y="108649"/>
                    </a:cubicBezTo>
                    <a:lnTo>
                      <a:pt x="12383" y="97158"/>
                    </a:lnTo>
                    <a:lnTo>
                      <a:pt x="20051" y="76729"/>
                    </a:lnTo>
                    <a:lnTo>
                      <a:pt x="38581" y="77367"/>
                    </a:lnTo>
                    <a:cubicBezTo>
                      <a:pt x="40498" y="77367"/>
                      <a:pt x="42415" y="76729"/>
                      <a:pt x="43693" y="74814"/>
                    </a:cubicBezTo>
                    <a:lnTo>
                      <a:pt x="58390" y="56939"/>
                    </a:lnTo>
                    <a:cubicBezTo>
                      <a:pt x="59668" y="55662"/>
                      <a:pt x="60307" y="53747"/>
                      <a:pt x="59668" y="51831"/>
                    </a:cubicBezTo>
                    <a:lnTo>
                      <a:pt x="55834" y="33318"/>
                    </a:lnTo>
                    <a:lnTo>
                      <a:pt x="75004" y="22465"/>
                    </a:lnTo>
                    <a:lnTo>
                      <a:pt x="89062" y="34595"/>
                    </a:lnTo>
                    <a:cubicBezTo>
                      <a:pt x="90340" y="35871"/>
                      <a:pt x="92257" y="36510"/>
                      <a:pt x="94174" y="35871"/>
                    </a:cubicBezTo>
                    <a:lnTo>
                      <a:pt x="117178" y="32041"/>
                    </a:lnTo>
                    <a:cubicBezTo>
                      <a:pt x="119095" y="31403"/>
                      <a:pt x="121012" y="30764"/>
                      <a:pt x="121651" y="28849"/>
                    </a:cubicBezTo>
                    <a:lnTo>
                      <a:pt x="130596" y="12251"/>
                    </a:lnTo>
                    <a:lnTo>
                      <a:pt x="152322" y="16081"/>
                    </a:lnTo>
                    <a:lnTo>
                      <a:pt x="155517" y="34595"/>
                    </a:lnTo>
                    <a:cubicBezTo>
                      <a:pt x="155517" y="36510"/>
                      <a:pt x="156795" y="38425"/>
                      <a:pt x="158712" y="39063"/>
                    </a:cubicBezTo>
                    <a:lnTo>
                      <a:pt x="178521" y="50555"/>
                    </a:lnTo>
                    <a:cubicBezTo>
                      <a:pt x="180438" y="51831"/>
                      <a:pt x="182355" y="51831"/>
                      <a:pt x="184272" y="51193"/>
                    </a:cubicBezTo>
                    <a:lnTo>
                      <a:pt x="201525" y="44171"/>
                    </a:lnTo>
                    <a:lnTo>
                      <a:pt x="215583" y="60769"/>
                    </a:lnTo>
                    <a:lnTo>
                      <a:pt x="205998" y="76729"/>
                    </a:lnTo>
                    <a:cubicBezTo>
                      <a:pt x="204720" y="78644"/>
                      <a:pt x="204720" y="80559"/>
                      <a:pt x="205359" y="82474"/>
                    </a:cubicBezTo>
                    <a:lnTo>
                      <a:pt x="213027" y="104180"/>
                    </a:lnTo>
                    <a:cubicBezTo>
                      <a:pt x="213666" y="106095"/>
                      <a:pt x="214944" y="107372"/>
                      <a:pt x="216861" y="108010"/>
                    </a:cubicBezTo>
                    <a:lnTo>
                      <a:pt x="234752" y="114394"/>
                    </a:lnTo>
                    <a:lnTo>
                      <a:pt x="234752" y="136100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3" name="Graphic 1100">
              <a:extLst>
                <a:ext uri="{FF2B5EF4-FFF2-40B4-BE49-F238E27FC236}">
                  <a16:creationId xmlns:a16="http://schemas.microsoft.com/office/drawing/2014/main" id="{55455867-59D9-3B79-5F07-9DA381BD41AB}"/>
                </a:ext>
              </a:extLst>
            </p:cNvPr>
            <p:cNvGrpSpPr/>
            <p:nvPr/>
          </p:nvGrpSpPr>
          <p:grpSpPr>
            <a:xfrm>
              <a:off x="450000" y="2890081"/>
              <a:ext cx="916684" cy="915830"/>
              <a:chOff x="467104" y="2375167"/>
              <a:chExt cx="362309" cy="362610"/>
            </a:xfrm>
            <a:solidFill>
              <a:schemeClr val="bg1">
                <a:alpha val="25000"/>
              </a:schemeClr>
            </a:solidFill>
          </p:grpSpPr>
          <p:sp>
            <p:nvSpPr>
              <p:cNvPr id="34" name="Graphic 1100">
                <a:extLst>
                  <a:ext uri="{FF2B5EF4-FFF2-40B4-BE49-F238E27FC236}">
                    <a16:creationId xmlns:a16="http://schemas.microsoft.com/office/drawing/2014/main" id="{55AE4D43-0D2A-A4DB-AACA-50A01F113CB0}"/>
                  </a:ext>
                </a:extLst>
              </p:cNvPr>
              <p:cNvSpPr/>
              <p:nvPr/>
            </p:nvSpPr>
            <p:spPr>
              <a:xfrm>
                <a:off x="467104" y="2375167"/>
                <a:ext cx="362309" cy="362610"/>
              </a:xfrm>
              <a:custGeom>
                <a:avLst/>
                <a:gdLst>
                  <a:gd name="connsiteX0" fmla="*/ 181474 w 362309"/>
                  <a:gd name="connsiteY0" fmla="*/ 0 h 362610"/>
                  <a:gd name="connsiteX1" fmla="*/ 0 w 362309"/>
                  <a:gd name="connsiteY1" fmla="*/ 181305 h 362610"/>
                  <a:gd name="connsiteX2" fmla="*/ 181474 w 362309"/>
                  <a:gd name="connsiteY2" fmla="*/ 362610 h 362610"/>
                  <a:gd name="connsiteX3" fmla="*/ 362309 w 362309"/>
                  <a:gd name="connsiteY3" fmla="*/ 181305 h 362610"/>
                  <a:gd name="connsiteX4" fmla="*/ 181474 w 362309"/>
                  <a:gd name="connsiteY4" fmla="*/ 0 h 362610"/>
                  <a:gd name="connsiteX5" fmla="*/ 181474 w 362309"/>
                  <a:gd name="connsiteY5" fmla="*/ 0 h 362610"/>
                  <a:gd name="connsiteX6" fmla="*/ 181474 w 362309"/>
                  <a:gd name="connsiteY6" fmla="*/ 349204 h 362610"/>
                  <a:gd name="connsiteX7" fmla="*/ 13419 w 362309"/>
                  <a:gd name="connsiteY7" fmla="*/ 180667 h 362610"/>
                  <a:gd name="connsiteX8" fmla="*/ 181474 w 362309"/>
                  <a:gd name="connsiteY8" fmla="*/ 12130 h 362610"/>
                  <a:gd name="connsiteX9" fmla="*/ 349530 w 362309"/>
                  <a:gd name="connsiteY9" fmla="*/ 180667 h 362610"/>
                  <a:gd name="connsiteX10" fmla="*/ 349530 w 362309"/>
                  <a:gd name="connsiteY10" fmla="*/ 180667 h 362610"/>
                  <a:gd name="connsiteX11" fmla="*/ 181474 w 362309"/>
                  <a:gd name="connsiteY11" fmla="*/ 349204 h 36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09" h="362610">
                    <a:moveTo>
                      <a:pt x="181474" y="0"/>
                    </a:moveTo>
                    <a:cubicBezTo>
                      <a:pt x="81152" y="0"/>
                      <a:pt x="0" y="81077"/>
                      <a:pt x="0" y="181305"/>
                    </a:cubicBezTo>
                    <a:cubicBezTo>
                      <a:pt x="0" y="281534"/>
                      <a:pt x="81152" y="362610"/>
                      <a:pt x="181474" y="362610"/>
                    </a:cubicBezTo>
                    <a:cubicBezTo>
                      <a:pt x="281796" y="362610"/>
                      <a:pt x="362309" y="281534"/>
                      <a:pt x="362309" y="181305"/>
                    </a:cubicBezTo>
                    <a:cubicBezTo>
                      <a:pt x="362309" y="81077"/>
                      <a:pt x="281796" y="0"/>
                      <a:pt x="181474" y="0"/>
                    </a:cubicBezTo>
                    <a:cubicBezTo>
                      <a:pt x="181474" y="0"/>
                      <a:pt x="181474" y="0"/>
                      <a:pt x="181474" y="0"/>
                    </a:cubicBezTo>
                    <a:close/>
                    <a:moveTo>
                      <a:pt x="181474" y="349204"/>
                    </a:moveTo>
                    <a:cubicBezTo>
                      <a:pt x="88181" y="349204"/>
                      <a:pt x="13419" y="273873"/>
                      <a:pt x="13419" y="180667"/>
                    </a:cubicBezTo>
                    <a:cubicBezTo>
                      <a:pt x="13419" y="87461"/>
                      <a:pt x="88820" y="12130"/>
                      <a:pt x="181474" y="12130"/>
                    </a:cubicBezTo>
                    <a:cubicBezTo>
                      <a:pt x="274128" y="12130"/>
                      <a:pt x="349530" y="87461"/>
                      <a:pt x="349530" y="180667"/>
                    </a:cubicBezTo>
                    <a:cubicBezTo>
                      <a:pt x="349530" y="180667"/>
                      <a:pt x="349530" y="180667"/>
                      <a:pt x="349530" y="180667"/>
                    </a:cubicBezTo>
                    <a:cubicBezTo>
                      <a:pt x="349530" y="273873"/>
                      <a:pt x="274128" y="349204"/>
                      <a:pt x="181474" y="34920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Graphic 1100">
                <a:extLst>
                  <a:ext uri="{FF2B5EF4-FFF2-40B4-BE49-F238E27FC236}">
                    <a16:creationId xmlns:a16="http://schemas.microsoft.com/office/drawing/2014/main" id="{F00ED789-E329-3E8C-E0E1-828C19F0CBA0}"/>
                  </a:ext>
                </a:extLst>
              </p:cNvPr>
              <p:cNvSpPr/>
              <p:nvPr/>
            </p:nvSpPr>
            <p:spPr>
              <a:xfrm>
                <a:off x="548895" y="2431346"/>
                <a:ext cx="198727" cy="250251"/>
              </a:xfrm>
              <a:custGeom>
                <a:avLst/>
                <a:gdLst>
                  <a:gd name="connsiteX0" fmla="*/ 99683 w 198727"/>
                  <a:gd name="connsiteY0" fmla="*/ 0 h 250251"/>
                  <a:gd name="connsiteX1" fmla="*/ 0 w 198727"/>
                  <a:gd name="connsiteY1" fmla="*/ 99590 h 250251"/>
                  <a:gd name="connsiteX2" fmla="*/ 0 w 198727"/>
                  <a:gd name="connsiteY2" fmla="*/ 171729 h 250251"/>
                  <a:gd name="connsiteX3" fmla="*/ 19170 w 198727"/>
                  <a:gd name="connsiteY3" fmla="*/ 190881 h 250251"/>
                  <a:gd name="connsiteX4" fmla="*/ 27477 w 198727"/>
                  <a:gd name="connsiteY4" fmla="*/ 190881 h 250251"/>
                  <a:gd name="connsiteX5" fmla="*/ 46647 w 198727"/>
                  <a:gd name="connsiteY5" fmla="*/ 171729 h 250251"/>
                  <a:gd name="connsiteX6" fmla="*/ 46647 w 198727"/>
                  <a:gd name="connsiteY6" fmla="*/ 112358 h 250251"/>
                  <a:gd name="connsiteX7" fmla="*/ 27477 w 198727"/>
                  <a:gd name="connsiteY7" fmla="*/ 93206 h 250251"/>
                  <a:gd name="connsiteX8" fmla="*/ 19170 w 198727"/>
                  <a:gd name="connsiteY8" fmla="*/ 93206 h 250251"/>
                  <a:gd name="connsiteX9" fmla="*/ 12780 w 198727"/>
                  <a:gd name="connsiteY9" fmla="*/ 94483 h 250251"/>
                  <a:gd name="connsiteX10" fmla="*/ 104795 w 198727"/>
                  <a:gd name="connsiteY10" fmla="*/ 13406 h 250251"/>
                  <a:gd name="connsiteX11" fmla="*/ 185947 w 198727"/>
                  <a:gd name="connsiteY11" fmla="*/ 94483 h 250251"/>
                  <a:gd name="connsiteX12" fmla="*/ 179557 w 198727"/>
                  <a:gd name="connsiteY12" fmla="*/ 93206 h 250251"/>
                  <a:gd name="connsiteX13" fmla="*/ 171250 w 198727"/>
                  <a:gd name="connsiteY13" fmla="*/ 93206 h 250251"/>
                  <a:gd name="connsiteX14" fmla="*/ 152080 w 198727"/>
                  <a:gd name="connsiteY14" fmla="*/ 112358 h 250251"/>
                  <a:gd name="connsiteX15" fmla="*/ 152080 w 198727"/>
                  <a:gd name="connsiteY15" fmla="*/ 171729 h 250251"/>
                  <a:gd name="connsiteX16" fmla="*/ 171250 w 198727"/>
                  <a:gd name="connsiteY16" fmla="*/ 190881 h 250251"/>
                  <a:gd name="connsiteX17" fmla="*/ 179557 w 198727"/>
                  <a:gd name="connsiteY17" fmla="*/ 190881 h 250251"/>
                  <a:gd name="connsiteX18" fmla="*/ 184669 w 198727"/>
                  <a:gd name="connsiteY18" fmla="*/ 190243 h 250251"/>
                  <a:gd name="connsiteX19" fmla="*/ 123326 w 198727"/>
                  <a:gd name="connsiteY19" fmla="*/ 236207 h 250251"/>
                  <a:gd name="connsiteX20" fmla="*/ 99044 w 198727"/>
                  <a:gd name="connsiteY20" fmla="*/ 227270 h 250251"/>
                  <a:gd name="connsiteX21" fmla="*/ 74123 w 198727"/>
                  <a:gd name="connsiteY21" fmla="*/ 238761 h 250251"/>
                  <a:gd name="connsiteX22" fmla="*/ 99044 w 198727"/>
                  <a:gd name="connsiteY22" fmla="*/ 250252 h 250251"/>
                  <a:gd name="connsiteX23" fmla="*/ 102878 w 198727"/>
                  <a:gd name="connsiteY23" fmla="*/ 250252 h 250251"/>
                  <a:gd name="connsiteX24" fmla="*/ 198727 w 198727"/>
                  <a:gd name="connsiteY24" fmla="*/ 176198 h 250251"/>
                  <a:gd name="connsiteX25" fmla="*/ 198727 w 198727"/>
                  <a:gd name="connsiteY25" fmla="*/ 99590 h 250251"/>
                  <a:gd name="connsiteX26" fmla="*/ 99683 w 198727"/>
                  <a:gd name="connsiteY26" fmla="*/ 0 h 250251"/>
                  <a:gd name="connsiteX27" fmla="*/ 19170 w 198727"/>
                  <a:gd name="connsiteY27" fmla="*/ 105336 h 250251"/>
                  <a:gd name="connsiteX28" fmla="*/ 27477 w 198727"/>
                  <a:gd name="connsiteY28" fmla="*/ 105336 h 250251"/>
                  <a:gd name="connsiteX29" fmla="*/ 33867 w 198727"/>
                  <a:gd name="connsiteY29" fmla="*/ 111720 h 250251"/>
                  <a:gd name="connsiteX30" fmla="*/ 33867 w 198727"/>
                  <a:gd name="connsiteY30" fmla="*/ 171091 h 250251"/>
                  <a:gd name="connsiteX31" fmla="*/ 27477 w 198727"/>
                  <a:gd name="connsiteY31" fmla="*/ 177475 h 250251"/>
                  <a:gd name="connsiteX32" fmla="*/ 19170 w 198727"/>
                  <a:gd name="connsiteY32" fmla="*/ 177475 h 250251"/>
                  <a:gd name="connsiteX33" fmla="*/ 12780 w 198727"/>
                  <a:gd name="connsiteY33" fmla="*/ 171091 h 250251"/>
                  <a:gd name="connsiteX34" fmla="*/ 12780 w 198727"/>
                  <a:gd name="connsiteY34" fmla="*/ 111720 h 250251"/>
                  <a:gd name="connsiteX35" fmla="*/ 19170 w 198727"/>
                  <a:gd name="connsiteY35" fmla="*/ 105336 h 250251"/>
                  <a:gd name="connsiteX36" fmla="*/ 186586 w 198727"/>
                  <a:gd name="connsiteY36" fmla="*/ 124488 h 250251"/>
                  <a:gd name="connsiteX37" fmla="*/ 186586 w 198727"/>
                  <a:gd name="connsiteY37" fmla="*/ 171091 h 250251"/>
                  <a:gd name="connsiteX38" fmla="*/ 180196 w 198727"/>
                  <a:gd name="connsiteY38" fmla="*/ 177475 h 250251"/>
                  <a:gd name="connsiteX39" fmla="*/ 171889 w 198727"/>
                  <a:gd name="connsiteY39" fmla="*/ 177475 h 250251"/>
                  <a:gd name="connsiteX40" fmla="*/ 165499 w 198727"/>
                  <a:gd name="connsiteY40" fmla="*/ 171091 h 250251"/>
                  <a:gd name="connsiteX41" fmla="*/ 165499 w 198727"/>
                  <a:gd name="connsiteY41" fmla="*/ 111720 h 250251"/>
                  <a:gd name="connsiteX42" fmla="*/ 171889 w 198727"/>
                  <a:gd name="connsiteY42" fmla="*/ 105336 h 250251"/>
                  <a:gd name="connsiteX43" fmla="*/ 180196 w 198727"/>
                  <a:gd name="connsiteY43" fmla="*/ 105336 h 250251"/>
                  <a:gd name="connsiteX44" fmla="*/ 186586 w 198727"/>
                  <a:gd name="connsiteY44" fmla="*/ 111720 h 250251"/>
                  <a:gd name="connsiteX45" fmla="*/ 186586 w 198727"/>
                  <a:gd name="connsiteY45" fmla="*/ 124488 h 250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98727" h="250251">
                    <a:moveTo>
                      <a:pt x="99683" y="0"/>
                    </a:moveTo>
                    <a:cubicBezTo>
                      <a:pt x="44730" y="0"/>
                      <a:pt x="0" y="44688"/>
                      <a:pt x="0" y="99590"/>
                    </a:cubicBezTo>
                    <a:lnTo>
                      <a:pt x="0" y="171729"/>
                    </a:lnTo>
                    <a:cubicBezTo>
                      <a:pt x="0" y="182582"/>
                      <a:pt x="8307" y="190881"/>
                      <a:pt x="19170" y="190881"/>
                    </a:cubicBezTo>
                    <a:lnTo>
                      <a:pt x="27477" y="190881"/>
                    </a:lnTo>
                    <a:cubicBezTo>
                      <a:pt x="38340" y="190881"/>
                      <a:pt x="46647" y="182582"/>
                      <a:pt x="46647" y="171729"/>
                    </a:cubicBezTo>
                    <a:lnTo>
                      <a:pt x="46647" y="112358"/>
                    </a:lnTo>
                    <a:cubicBezTo>
                      <a:pt x="46647" y="101505"/>
                      <a:pt x="38340" y="93206"/>
                      <a:pt x="27477" y="93206"/>
                    </a:cubicBezTo>
                    <a:lnTo>
                      <a:pt x="19170" y="93206"/>
                    </a:lnTo>
                    <a:cubicBezTo>
                      <a:pt x="17253" y="93206"/>
                      <a:pt x="14697" y="93844"/>
                      <a:pt x="12780" y="94483"/>
                    </a:cubicBezTo>
                    <a:cubicBezTo>
                      <a:pt x="15975" y="46603"/>
                      <a:pt x="56870" y="10214"/>
                      <a:pt x="104795" y="13406"/>
                    </a:cubicBezTo>
                    <a:cubicBezTo>
                      <a:pt x="148886" y="15960"/>
                      <a:pt x="183391" y="51072"/>
                      <a:pt x="185947" y="94483"/>
                    </a:cubicBezTo>
                    <a:cubicBezTo>
                      <a:pt x="184030" y="93844"/>
                      <a:pt x="181474" y="93206"/>
                      <a:pt x="179557" y="93206"/>
                    </a:cubicBezTo>
                    <a:lnTo>
                      <a:pt x="171250" y="93206"/>
                    </a:lnTo>
                    <a:cubicBezTo>
                      <a:pt x="160387" y="93206"/>
                      <a:pt x="152080" y="101505"/>
                      <a:pt x="152080" y="112358"/>
                    </a:cubicBezTo>
                    <a:lnTo>
                      <a:pt x="152080" y="171729"/>
                    </a:lnTo>
                    <a:cubicBezTo>
                      <a:pt x="152080" y="182582"/>
                      <a:pt x="160387" y="190881"/>
                      <a:pt x="171250" y="190881"/>
                    </a:cubicBezTo>
                    <a:lnTo>
                      <a:pt x="179557" y="190881"/>
                    </a:lnTo>
                    <a:cubicBezTo>
                      <a:pt x="181474" y="190881"/>
                      <a:pt x="182752" y="190881"/>
                      <a:pt x="184669" y="190243"/>
                    </a:cubicBezTo>
                    <a:cubicBezTo>
                      <a:pt x="178279" y="220247"/>
                      <a:pt x="152080" y="232377"/>
                      <a:pt x="123326" y="236207"/>
                    </a:cubicBezTo>
                    <a:cubicBezTo>
                      <a:pt x="120770" y="228546"/>
                      <a:pt x="106073" y="227270"/>
                      <a:pt x="99044" y="227270"/>
                    </a:cubicBezTo>
                    <a:cubicBezTo>
                      <a:pt x="92015" y="227270"/>
                      <a:pt x="74123" y="228546"/>
                      <a:pt x="74123" y="238761"/>
                    </a:cubicBezTo>
                    <a:cubicBezTo>
                      <a:pt x="74123" y="248975"/>
                      <a:pt x="91376" y="250252"/>
                      <a:pt x="99044" y="250252"/>
                    </a:cubicBezTo>
                    <a:lnTo>
                      <a:pt x="102878" y="250252"/>
                    </a:lnTo>
                    <a:cubicBezTo>
                      <a:pt x="164860" y="248975"/>
                      <a:pt x="198727" y="222801"/>
                      <a:pt x="198727" y="176198"/>
                    </a:cubicBezTo>
                    <a:lnTo>
                      <a:pt x="198727" y="99590"/>
                    </a:lnTo>
                    <a:cubicBezTo>
                      <a:pt x="198727" y="44688"/>
                      <a:pt x="153997" y="0"/>
                      <a:pt x="99683" y="0"/>
                    </a:cubicBezTo>
                    <a:close/>
                    <a:moveTo>
                      <a:pt x="19170" y="105336"/>
                    </a:moveTo>
                    <a:lnTo>
                      <a:pt x="27477" y="105336"/>
                    </a:lnTo>
                    <a:cubicBezTo>
                      <a:pt x="31311" y="105336"/>
                      <a:pt x="33867" y="107889"/>
                      <a:pt x="33867" y="111720"/>
                    </a:cubicBezTo>
                    <a:lnTo>
                      <a:pt x="33867" y="171091"/>
                    </a:lnTo>
                    <a:cubicBezTo>
                      <a:pt x="33867" y="174921"/>
                      <a:pt x="31311" y="177475"/>
                      <a:pt x="27477" y="177475"/>
                    </a:cubicBezTo>
                    <a:lnTo>
                      <a:pt x="19170" y="177475"/>
                    </a:lnTo>
                    <a:cubicBezTo>
                      <a:pt x="15336" y="177475"/>
                      <a:pt x="12780" y="174921"/>
                      <a:pt x="12780" y="171091"/>
                    </a:cubicBezTo>
                    <a:lnTo>
                      <a:pt x="12780" y="111720"/>
                    </a:lnTo>
                    <a:cubicBezTo>
                      <a:pt x="12780" y="108528"/>
                      <a:pt x="15336" y="105336"/>
                      <a:pt x="19170" y="105336"/>
                    </a:cubicBezTo>
                    <a:close/>
                    <a:moveTo>
                      <a:pt x="186586" y="124488"/>
                    </a:moveTo>
                    <a:lnTo>
                      <a:pt x="186586" y="171091"/>
                    </a:lnTo>
                    <a:cubicBezTo>
                      <a:pt x="186586" y="174921"/>
                      <a:pt x="184030" y="177475"/>
                      <a:pt x="180196" y="177475"/>
                    </a:cubicBezTo>
                    <a:lnTo>
                      <a:pt x="171889" y="177475"/>
                    </a:lnTo>
                    <a:cubicBezTo>
                      <a:pt x="168055" y="177475"/>
                      <a:pt x="165499" y="174921"/>
                      <a:pt x="165499" y="171091"/>
                    </a:cubicBezTo>
                    <a:lnTo>
                      <a:pt x="165499" y="111720"/>
                    </a:lnTo>
                    <a:cubicBezTo>
                      <a:pt x="165499" y="107889"/>
                      <a:pt x="168055" y="105336"/>
                      <a:pt x="171889" y="105336"/>
                    </a:cubicBezTo>
                    <a:lnTo>
                      <a:pt x="180196" y="105336"/>
                    </a:lnTo>
                    <a:cubicBezTo>
                      <a:pt x="184030" y="105336"/>
                      <a:pt x="186586" y="107889"/>
                      <a:pt x="186586" y="111720"/>
                    </a:cubicBezTo>
                    <a:lnTo>
                      <a:pt x="186586" y="124488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6" name="Graphic 4">
              <a:extLst>
                <a:ext uri="{FF2B5EF4-FFF2-40B4-BE49-F238E27FC236}">
                  <a16:creationId xmlns:a16="http://schemas.microsoft.com/office/drawing/2014/main" id="{F44448C7-4FE4-3B75-FFE6-1293CDC65E1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0000" y="4067093"/>
              <a:ext cx="916695" cy="915830"/>
              <a:chOff x="5708130" y="1885990"/>
              <a:chExt cx="362313" cy="361971"/>
            </a:xfrm>
            <a:solidFill>
              <a:schemeClr val="bg1">
                <a:alpha val="25000"/>
              </a:schemeClr>
            </a:solidFill>
          </p:grpSpPr>
          <p:sp>
            <p:nvSpPr>
              <p:cNvPr id="37" name="Graphic 4">
                <a:extLst>
                  <a:ext uri="{FF2B5EF4-FFF2-40B4-BE49-F238E27FC236}">
                    <a16:creationId xmlns:a16="http://schemas.microsoft.com/office/drawing/2014/main" id="{60EAF789-4A0C-ADA2-DAD1-2BAD298C4EB3}"/>
                  </a:ext>
                </a:extLst>
              </p:cNvPr>
              <p:cNvSpPr/>
              <p:nvPr/>
            </p:nvSpPr>
            <p:spPr>
              <a:xfrm>
                <a:off x="5708130" y="1885990"/>
                <a:ext cx="362313" cy="361971"/>
              </a:xfrm>
              <a:custGeom>
                <a:avLst/>
                <a:gdLst>
                  <a:gd name="connsiteX0" fmla="*/ 181474 w 362313"/>
                  <a:gd name="connsiteY0" fmla="*/ 0 h 361971"/>
                  <a:gd name="connsiteX1" fmla="*/ 0 w 362313"/>
                  <a:gd name="connsiteY1" fmla="*/ 180667 h 361971"/>
                  <a:gd name="connsiteX2" fmla="*/ 180835 w 362313"/>
                  <a:gd name="connsiteY2" fmla="*/ 361972 h 361971"/>
                  <a:gd name="connsiteX3" fmla="*/ 362310 w 362313"/>
                  <a:gd name="connsiteY3" fmla="*/ 181305 h 361971"/>
                  <a:gd name="connsiteX4" fmla="*/ 362310 w 362313"/>
                  <a:gd name="connsiteY4" fmla="*/ 181305 h 361971"/>
                  <a:gd name="connsiteX5" fmla="*/ 181474 w 362313"/>
                  <a:gd name="connsiteY5" fmla="*/ 0 h 361971"/>
                  <a:gd name="connsiteX6" fmla="*/ 181474 w 362313"/>
                  <a:gd name="connsiteY6" fmla="*/ 348565 h 361971"/>
                  <a:gd name="connsiteX7" fmla="*/ 12780 w 362313"/>
                  <a:gd name="connsiteY7" fmla="*/ 180667 h 361971"/>
                  <a:gd name="connsiteX8" fmla="*/ 180835 w 362313"/>
                  <a:gd name="connsiteY8" fmla="*/ 12130 h 361971"/>
                  <a:gd name="connsiteX9" fmla="*/ 349530 w 362313"/>
                  <a:gd name="connsiteY9" fmla="*/ 180028 h 361971"/>
                  <a:gd name="connsiteX10" fmla="*/ 349530 w 362313"/>
                  <a:gd name="connsiteY10" fmla="*/ 180028 h 361971"/>
                  <a:gd name="connsiteX11" fmla="*/ 181474 w 362313"/>
                  <a:gd name="connsiteY11" fmla="*/ 348565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13" h="361971">
                    <a:moveTo>
                      <a:pt x="181474" y="0"/>
                    </a:moveTo>
                    <a:cubicBezTo>
                      <a:pt x="81152" y="0"/>
                      <a:pt x="0" y="81077"/>
                      <a:pt x="0" y="180667"/>
                    </a:cubicBezTo>
                    <a:cubicBezTo>
                      <a:pt x="0" y="280257"/>
                      <a:pt x="81152" y="361972"/>
                      <a:pt x="180835" y="361972"/>
                    </a:cubicBezTo>
                    <a:cubicBezTo>
                      <a:pt x="281157" y="361972"/>
                      <a:pt x="362310" y="280895"/>
                      <a:pt x="362310" y="181305"/>
                    </a:cubicBezTo>
                    <a:cubicBezTo>
                      <a:pt x="362310" y="181305"/>
                      <a:pt x="362310" y="181305"/>
                      <a:pt x="362310" y="181305"/>
                    </a:cubicBezTo>
                    <a:cubicBezTo>
                      <a:pt x="362948" y="80438"/>
                      <a:pt x="281796" y="0"/>
                      <a:pt x="181474" y="0"/>
                    </a:cubicBezTo>
                    <a:close/>
                    <a:moveTo>
                      <a:pt x="181474" y="348565"/>
                    </a:moveTo>
                    <a:cubicBezTo>
                      <a:pt x="88181" y="348565"/>
                      <a:pt x="12780" y="273235"/>
                      <a:pt x="12780" y="180667"/>
                    </a:cubicBezTo>
                    <a:cubicBezTo>
                      <a:pt x="12780" y="88099"/>
                      <a:pt x="88181" y="12130"/>
                      <a:pt x="180835" y="12130"/>
                    </a:cubicBezTo>
                    <a:cubicBezTo>
                      <a:pt x="274128" y="12130"/>
                      <a:pt x="349530" y="87461"/>
                      <a:pt x="349530" y="180028"/>
                    </a:cubicBezTo>
                    <a:cubicBezTo>
                      <a:pt x="349530" y="180028"/>
                      <a:pt x="349530" y="180028"/>
                      <a:pt x="349530" y="180028"/>
                    </a:cubicBezTo>
                    <a:cubicBezTo>
                      <a:pt x="349530" y="273235"/>
                      <a:pt x="274767" y="348565"/>
                      <a:pt x="181474" y="34856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Graphic 4">
                <a:extLst>
                  <a:ext uri="{FF2B5EF4-FFF2-40B4-BE49-F238E27FC236}">
                    <a16:creationId xmlns:a16="http://schemas.microsoft.com/office/drawing/2014/main" id="{BA561F28-B34E-A63D-3088-E0968A90A880}"/>
                  </a:ext>
                </a:extLst>
              </p:cNvPr>
              <p:cNvSpPr/>
              <p:nvPr/>
            </p:nvSpPr>
            <p:spPr>
              <a:xfrm>
                <a:off x="5786287" y="1977920"/>
                <a:ext cx="209390" cy="178751"/>
              </a:xfrm>
              <a:custGeom>
                <a:avLst/>
                <a:gdLst>
                  <a:gd name="connsiteX0" fmla="*/ 204278 w 209390"/>
                  <a:gd name="connsiteY0" fmla="*/ 166622 h 178751"/>
                  <a:gd name="connsiteX1" fmla="*/ 160827 w 209390"/>
                  <a:gd name="connsiteY1" fmla="*/ 154492 h 178751"/>
                  <a:gd name="connsiteX2" fmla="*/ 147408 w 209390"/>
                  <a:gd name="connsiteY2" fmla="*/ 152577 h 178751"/>
                  <a:gd name="connsiteX3" fmla="*/ 135906 w 209390"/>
                  <a:gd name="connsiteY3" fmla="*/ 143640 h 178751"/>
                  <a:gd name="connsiteX4" fmla="*/ 135906 w 209390"/>
                  <a:gd name="connsiteY4" fmla="*/ 141724 h 178751"/>
                  <a:gd name="connsiteX5" fmla="*/ 157632 w 209390"/>
                  <a:gd name="connsiteY5" fmla="*/ 90652 h 178751"/>
                  <a:gd name="connsiteX6" fmla="*/ 149325 w 209390"/>
                  <a:gd name="connsiteY6" fmla="*/ 20429 h 178751"/>
                  <a:gd name="connsiteX7" fmla="*/ 103317 w 209390"/>
                  <a:gd name="connsiteY7" fmla="*/ 0 h 178751"/>
                  <a:gd name="connsiteX8" fmla="*/ 103317 w 209390"/>
                  <a:gd name="connsiteY8" fmla="*/ 0 h 178751"/>
                  <a:gd name="connsiteX9" fmla="*/ 57310 w 209390"/>
                  <a:gd name="connsiteY9" fmla="*/ 20429 h 178751"/>
                  <a:gd name="connsiteX10" fmla="*/ 49003 w 209390"/>
                  <a:gd name="connsiteY10" fmla="*/ 90652 h 178751"/>
                  <a:gd name="connsiteX11" fmla="*/ 70728 w 209390"/>
                  <a:gd name="connsiteY11" fmla="*/ 141724 h 178751"/>
                  <a:gd name="connsiteX12" fmla="*/ 70728 w 209390"/>
                  <a:gd name="connsiteY12" fmla="*/ 143640 h 178751"/>
                  <a:gd name="connsiteX13" fmla="*/ 59227 w 209390"/>
                  <a:gd name="connsiteY13" fmla="*/ 152577 h 178751"/>
                  <a:gd name="connsiteX14" fmla="*/ 45808 w 209390"/>
                  <a:gd name="connsiteY14" fmla="*/ 154492 h 178751"/>
                  <a:gd name="connsiteX15" fmla="*/ 2995 w 209390"/>
                  <a:gd name="connsiteY15" fmla="*/ 166622 h 178751"/>
                  <a:gd name="connsiteX16" fmla="*/ 1078 w 209390"/>
                  <a:gd name="connsiteY16" fmla="*/ 175560 h 178751"/>
                  <a:gd name="connsiteX17" fmla="*/ 6829 w 209390"/>
                  <a:gd name="connsiteY17" fmla="*/ 178752 h 178751"/>
                  <a:gd name="connsiteX18" fmla="*/ 10024 w 209390"/>
                  <a:gd name="connsiteY18" fmla="*/ 178113 h 178751"/>
                  <a:gd name="connsiteX19" fmla="*/ 48364 w 209390"/>
                  <a:gd name="connsiteY19" fmla="*/ 167899 h 178751"/>
                  <a:gd name="connsiteX20" fmla="*/ 64978 w 209390"/>
                  <a:gd name="connsiteY20" fmla="*/ 164707 h 178751"/>
                  <a:gd name="connsiteX21" fmla="*/ 84147 w 209390"/>
                  <a:gd name="connsiteY21" fmla="*/ 147470 h 178751"/>
                  <a:gd name="connsiteX22" fmla="*/ 82231 w 209390"/>
                  <a:gd name="connsiteY22" fmla="*/ 134064 h 178751"/>
                  <a:gd name="connsiteX23" fmla="*/ 62422 w 209390"/>
                  <a:gd name="connsiteY23" fmla="*/ 87460 h 178751"/>
                  <a:gd name="connsiteX24" fmla="*/ 68173 w 209390"/>
                  <a:gd name="connsiteY24" fmla="*/ 28089 h 178751"/>
                  <a:gd name="connsiteX25" fmla="*/ 104595 w 209390"/>
                  <a:gd name="connsiteY25" fmla="*/ 12130 h 178751"/>
                  <a:gd name="connsiteX26" fmla="*/ 105234 w 209390"/>
                  <a:gd name="connsiteY26" fmla="*/ 12130 h 178751"/>
                  <a:gd name="connsiteX27" fmla="*/ 141657 w 209390"/>
                  <a:gd name="connsiteY27" fmla="*/ 28089 h 178751"/>
                  <a:gd name="connsiteX28" fmla="*/ 147408 w 209390"/>
                  <a:gd name="connsiteY28" fmla="*/ 87460 h 178751"/>
                  <a:gd name="connsiteX29" fmla="*/ 127599 w 209390"/>
                  <a:gd name="connsiteY29" fmla="*/ 134064 h 178751"/>
                  <a:gd name="connsiteX30" fmla="*/ 125682 w 209390"/>
                  <a:gd name="connsiteY30" fmla="*/ 147470 h 178751"/>
                  <a:gd name="connsiteX31" fmla="*/ 144852 w 209390"/>
                  <a:gd name="connsiteY31" fmla="*/ 164707 h 178751"/>
                  <a:gd name="connsiteX32" fmla="*/ 161466 w 209390"/>
                  <a:gd name="connsiteY32" fmla="*/ 167899 h 178751"/>
                  <a:gd name="connsiteX33" fmla="*/ 199805 w 209390"/>
                  <a:gd name="connsiteY33" fmla="*/ 178113 h 178751"/>
                  <a:gd name="connsiteX34" fmla="*/ 203000 w 209390"/>
                  <a:gd name="connsiteY34" fmla="*/ 178752 h 178751"/>
                  <a:gd name="connsiteX35" fmla="*/ 209390 w 209390"/>
                  <a:gd name="connsiteY35" fmla="*/ 172368 h 178751"/>
                  <a:gd name="connsiteX36" fmla="*/ 206195 w 209390"/>
                  <a:gd name="connsiteY36" fmla="*/ 166622 h 178751"/>
                  <a:gd name="connsiteX37" fmla="*/ 204278 w 209390"/>
                  <a:gd name="connsiteY37" fmla="*/ 166622 h 178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09390" h="178751">
                    <a:moveTo>
                      <a:pt x="204278" y="166622"/>
                    </a:moveTo>
                    <a:cubicBezTo>
                      <a:pt x="190860" y="158961"/>
                      <a:pt x="176162" y="155131"/>
                      <a:pt x="160827" y="154492"/>
                    </a:cubicBezTo>
                    <a:cubicBezTo>
                      <a:pt x="156354" y="154492"/>
                      <a:pt x="151881" y="153854"/>
                      <a:pt x="147408" y="152577"/>
                    </a:cubicBezTo>
                    <a:cubicBezTo>
                      <a:pt x="142296" y="151300"/>
                      <a:pt x="138462" y="148108"/>
                      <a:pt x="135906" y="143640"/>
                    </a:cubicBezTo>
                    <a:cubicBezTo>
                      <a:pt x="135267" y="143001"/>
                      <a:pt x="135267" y="142363"/>
                      <a:pt x="135906" y="141724"/>
                    </a:cubicBezTo>
                    <a:cubicBezTo>
                      <a:pt x="146130" y="125764"/>
                      <a:pt x="153159" y="108528"/>
                      <a:pt x="157632" y="90652"/>
                    </a:cubicBezTo>
                    <a:cubicBezTo>
                      <a:pt x="165300" y="60009"/>
                      <a:pt x="162105" y="36389"/>
                      <a:pt x="149325" y="20429"/>
                    </a:cubicBezTo>
                    <a:cubicBezTo>
                      <a:pt x="137823" y="7022"/>
                      <a:pt x="120570" y="0"/>
                      <a:pt x="103317" y="0"/>
                    </a:cubicBezTo>
                    <a:lnTo>
                      <a:pt x="103317" y="0"/>
                    </a:lnTo>
                    <a:cubicBezTo>
                      <a:pt x="85426" y="0"/>
                      <a:pt x="68811" y="7661"/>
                      <a:pt x="57310" y="20429"/>
                    </a:cubicBezTo>
                    <a:cubicBezTo>
                      <a:pt x="44530" y="36389"/>
                      <a:pt x="41335" y="60009"/>
                      <a:pt x="49003" y="90652"/>
                    </a:cubicBezTo>
                    <a:cubicBezTo>
                      <a:pt x="53476" y="108528"/>
                      <a:pt x="60505" y="125764"/>
                      <a:pt x="70728" y="141724"/>
                    </a:cubicBezTo>
                    <a:cubicBezTo>
                      <a:pt x="71368" y="142363"/>
                      <a:pt x="71368" y="143001"/>
                      <a:pt x="70728" y="143640"/>
                    </a:cubicBezTo>
                    <a:cubicBezTo>
                      <a:pt x="68173" y="148108"/>
                      <a:pt x="64338" y="151300"/>
                      <a:pt x="59227" y="152577"/>
                    </a:cubicBezTo>
                    <a:cubicBezTo>
                      <a:pt x="54754" y="153854"/>
                      <a:pt x="50281" y="154492"/>
                      <a:pt x="45808" y="154492"/>
                    </a:cubicBezTo>
                    <a:cubicBezTo>
                      <a:pt x="30472" y="155131"/>
                      <a:pt x="16414" y="159600"/>
                      <a:pt x="2995" y="166622"/>
                    </a:cubicBezTo>
                    <a:cubicBezTo>
                      <a:pt x="-200" y="168537"/>
                      <a:pt x="-839" y="172368"/>
                      <a:pt x="1078" y="175560"/>
                    </a:cubicBezTo>
                    <a:cubicBezTo>
                      <a:pt x="2356" y="177475"/>
                      <a:pt x="4273" y="178752"/>
                      <a:pt x="6829" y="178752"/>
                    </a:cubicBezTo>
                    <a:cubicBezTo>
                      <a:pt x="8107" y="178752"/>
                      <a:pt x="9385" y="178752"/>
                      <a:pt x="10024" y="178113"/>
                    </a:cubicBezTo>
                    <a:cubicBezTo>
                      <a:pt x="21526" y="171729"/>
                      <a:pt x="34945" y="167899"/>
                      <a:pt x="48364" y="167899"/>
                    </a:cubicBezTo>
                    <a:cubicBezTo>
                      <a:pt x="54115" y="167899"/>
                      <a:pt x="59866" y="166622"/>
                      <a:pt x="64978" y="164707"/>
                    </a:cubicBezTo>
                    <a:cubicBezTo>
                      <a:pt x="73923" y="162153"/>
                      <a:pt x="80953" y="155769"/>
                      <a:pt x="84147" y="147470"/>
                    </a:cubicBezTo>
                    <a:cubicBezTo>
                      <a:pt x="85426" y="143001"/>
                      <a:pt x="84786" y="137894"/>
                      <a:pt x="82231" y="134064"/>
                    </a:cubicBezTo>
                    <a:cubicBezTo>
                      <a:pt x="73285" y="120019"/>
                      <a:pt x="66256" y="104059"/>
                      <a:pt x="62422" y="87460"/>
                    </a:cubicBezTo>
                    <a:cubicBezTo>
                      <a:pt x="56032" y="60648"/>
                      <a:pt x="57949" y="40857"/>
                      <a:pt x="68173" y="28089"/>
                    </a:cubicBezTo>
                    <a:cubicBezTo>
                      <a:pt x="77758" y="17875"/>
                      <a:pt x="90537" y="12130"/>
                      <a:pt x="104595" y="12130"/>
                    </a:cubicBezTo>
                    <a:lnTo>
                      <a:pt x="105234" y="12130"/>
                    </a:lnTo>
                    <a:cubicBezTo>
                      <a:pt x="105234" y="12130"/>
                      <a:pt x="128238" y="12130"/>
                      <a:pt x="141657" y="28089"/>
                    </a:cubicBezTo>
                    <a:cubicBezTo>
                      <a:pt x="151881" y="40857"/>
                      <a:pt x="153798" y="60648"/>
                      <a:pt x="147408" y="87460"/>
                    </a:cubicBezTo>
                    <a:cubicBezTo>
                      <a:pt x="143574" y="104059"/>
                      <a:pt x="136545" y="119380"/>
                      <a:pt x="127599" y="134064"/>
                    </a:cubicBezTo>
                    <a:cubicBezTo>
                      <a:pt x="125043" y="137894"/>
                      <a:pt x="123765" y="143001"/>
                      <a:pt x="125682" y="147470"/>
                    </a:cubicBezTo>
                    <a:cubicBezTo>
                      <a:pt x="128877" y="155769"/>
                      <a:pt x="135906" y="162153"/>
                      <a:pt x="144852" y="164707"/>
                    </a:cubicBezTo>
                    <a:cubicBezTo>
                      <a:pt x="149964" y="166622"/>
                      <a:pt x="155715" y="167260"/>
                      <a:pt x="161466" y="167899"/>
                    </a:cubicBezTo>
                    <a:cubicBezTo>
                      <a:pt x="174885" y="168537"/>
                      <a:pt x="188303" y="171729"/>
                      <a:pt x="199805" y="178113"/>
                    </a:cubicBezTo>
                    <a:cubicBezTo>
                      <a:pt x="200444" y="178752"/>
                      <a:pt x="201722" y="178752"/>
                      <a:pt x="203000" y="178752"/>
                    </a:cubicBezTo>
                    <a:cubicBezTo>
                      <a:pt x="206834" y="178752"/>
                      <a:pt x="209390" y="176198"/>
                      <a:pt x="209390" y="172368"/>
                    </a:cubicBezTo>
                    <a:cubicBezTo>
                      <a:pt x="209390" y="169814"/>
                      <a:pt x="208112" y="167899"/>
                      <a:pt x="206195" y="166622"/>
                    </a:cubicBezTo>
                    <a:lnTo>
                      <a:pt x="204278" y="166622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104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ools used in the project </a:t>
            </a:r>
            <a:endParaRPr lang="en-US" noProof="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echnology</a:t>
            </a:r>
            <a:endParaRPr lang="en-US" sz="2400" noProof="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6C8A08E-CC1F-7900-2CF9-1F3B95428839}"/>
              </a:ext>
            </a:extLst>
          </p:cNvPr>
          <p:cNvGrpSpPr/>
          <p:nvPr/>
        </p:nvGrpSpPr>
        <p:grpSpPr>
          <a:xfrm>
            <a:off x="596739" y="1456072"/>
            <a:ext cx="10998523" cy="4282286"/>
            <a:chOff x="596739" y="1456072"/>
            <a:chExt cx="10998523" cy="428228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53EA53D-DE18-33D6-6F21-7BC49FB835F4}"/>
                </a:ext>
              </a:extLst>
            </p:cNvPr>
            <p:cNvGrpSpPr/>
            <p:nvPr/>
          </p:nvGrpSpPr>
          <p:grpSpPr>
            <a:xfrm>
              <a:off x="596739" y="1456072"/>
              <a:ext cx="10998523" cy="4282286"/>
              <a:chOff x="596739" y="1456072"/>
              <a:chExt cx="10998523" cy="4282286"/>
            </a:xfrm>
          </p:grpSpPr>
          <p:pic>
            <p:nvPicPr>
              <p:cNvPr id="3" name="Picture 2" descr="Using Podman to Generate and Test a Kubernetes YAML Manifest">
                <a:extLst>
                  <a:ext uri="{FF2B5EF4-FFF2-40B4-BE49-F238E27FC236}">
                    <a16:creationId xmlns:a16="http://schemas.microsoft.com/office/drawing/2014/main" id="{2385B0F2-0818-FB0E-0D6B-6D2B0DB1C6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90777" y="3653780"/>
                <a:ext cx="2243137" cy="17453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" name="Picture 2" descr="GitHub - CoconutGoodie/figma-plugin-react-vite: 🧩 A figma plugin  boilerplate, that simplifies building plugins with React + Vite!">
                <a:extLst>
                  <a:ext uri="{FF2B5EF4-FFF2-40B4-BE49-F238E27FC236}">
                    <a16:creationId xmlns:a16="http://schemas.microsoft.com/office/drawing/2014/main" id="{5BEED651-6737-401D-3BEE-8E5645216C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739"/>
              <a:stretch/>
            </p:blipFill>
            <p:spPr bwMode="auto">
              <a:xfrm>
                <a:off x="752290" y="1558526"/>
                <a:ext cx="2615380" cy="11039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" name="Picture 4" descr="Free serverless for restAPI with supabase | by Nasri Adzlani | Medium">
                <a:extLst>
                  <a:ext uri="{FF2B5EF4-FFF2-40B4-BE49-F238E27FC236}">
                    <a16:creationId xmlns:a16="http://schemas.microsoft.com/office/drawing/2014/main" id="{F36C736B-2E3A-7D6F-4F02-ED01D31B94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444" t="-4522"/>
              <a:stretch/>
            </p:blipFill>
            <p:spPr bwMode="auto">
              <a:xfrm>
                <a:off x="5051986" y="2573245"/>
                <a:ext cx="2060466" cy="5518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 descr="Tailwind CSS Basics. I spent the past week building a… | by starrdev |  Medium">
                <a:extLst>
                  <a:ext uri="{FF2B5EF4-FFF2-40B4-BE49-F238E27FC236}">
                    <a16:creationId xmlns:a16="http://schemas.microsoft.com/office/drawing/2014/main" id="{0EB6B0DB-042B-9B29-D62E-8C47DE8F85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152" t="23286" r="60820" b="26496"/>
              <a:stretch/>
            </p:blipFill>
            <p:spPr bwMode="auto">
              <a:xfrm>
                <a:off x="9550963" y="1456072"/>
                <a:ext cx="1392952" cy="10278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4" descr="Free serverless for restAPI with supabase | by Nasri Adzlani | Medium">
                <a:extLst>
                  <a:ext uri="{FF2B5EF4-FFF2-40B4-BE49-F238E27FC236}">
                    <a16:creationId xmlns:a16="http://schemas.microsoft.com/office/drawing/2014/main" id="{F4EEE65B-8021-66A1-1131-C05CACCAC8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5031" t="-6759" r="77771" b="-23008"/>
              <a:stretch/>
            </p:blipFill>
            <p:spPr bwMode="auto">
              <a:xfrm>
                <a:off x="5510264" y="1558526"/>
                <a:ext cx="1197757" cy="11039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6" descr="Tailwind CSS Basics. I spent the past week building a… | by starrdev |  Medium">
                <a:extLst>
                  <a:ext uri="{FF2B5EF4-FFF2-40B4-BE49-F238E27FC236}">
                    <a16:creationId xmlns:a16="http://schemas.microsoft.com/office/drawing/2014/main" id="{22AD440D-3A01-42D6-53E2-CD7EEDD357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6961" t="28717" r="4826" b="25704"/>
              <a:stretch/>
            </p:blipFill>
            <p:spPr bwMode="auto">
              <a:xfrm>
                <a:off x="8699402" y="2282346"/>
                <a:ext cx="2895860" cy="11336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B1EB191-716C-2996-DF27-2BEDDF52C977}"/>
                  </a:ext>
                </a:extLst>
              </p:cNvPr>
              <p:cNvSpPr txBox="1"/>
              <p:nvPr/>
            </p:nvSpPr>
            <p:spPr>
              <a:xfrm>
                <a:off x="673632" y="2573245"/>
                <a:ext cx="25391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600"/>
                  </a:spcBef>
                  <a:buSzPct val="100000"/>
                </a:pPr>
                <a:r>
                  <a:rPr lang="en-US" sz="3600" b="1">
                    <a:solidFill>
                      <a:srgbClr val="313131"/>
                    </a:solidFill>
                  </a:rPr>
                  <a:t>Vite + React</a:t>
                </a:r>
              </a:p>
            </p:txBody>
          </p:sp>
          <p:sp>
            <p:nvSpPr>
              <p:cNvPr id="12" name="Text Placeholder 5">
                <a:extLst>
                  <a:ext uri="{FF2B5EF4-FFF2-40B4-BE49-F238E27FC236}">
                    <a16:creationId xmlns:a16="http://schemas.microsoft.com/office/drawing/2014/main" id="{8E92C47D-AE69-0F31-6E43-24AA65058412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96739" y="3125130"/>
                <a:ext cx="2686671" cy="4112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685800" rtl="0" eaLnBrk="1" fontAlgn="base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None/>
                  <a:defRPr sz="1800" b="0" kern="1200">
                    <a:solidFill>
                      <a:schemeClr val="tx2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1pPr>
                <a:lvl2pPr marL="10477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•"/>
                  <a:defRPr lang="en-US" sz="1200" b="1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2pPr>
                <a:lvl3pPr marL="228600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3pPr>
                <a:lvl4pPr marL="35242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◦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4pPr>
                <a:lvl5pPr marL="476250" indent="-104775" algn="l" defTabSz="598488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5pPr>
                <a:lvl6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evelopment tools and frameworks</a:t>
                </a:r>
              </a:p>
            </p:txBody>
          </p:sp>
          <p:sp>
            <p:nvSpPr>
              <p:cNvPr id="17" name="Text Placeholder 5">
                <a:extLst>
                  <a:ext uri="{FF2B5EF4-FFF2-40B4-BE49-F238E27FC236}">
                    <a16:creationId xmlns:a16="http://schemas.microsoft.com/office/drawing/2014/main" id="{6D9CE44D-9017-DE15-A316-AAEC0D68FD68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679044" y="3120867"/>
                <a:ext cx="2686671" cy="4112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685800" rtl="0" eaLnBrk="1" fontAlgn="base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None/>
                  <a:defRPr sz="1800" b="0" kern="1200">
                    <a:solidFill>
                      <a:schemeClr val="tx2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1pPr>
                <a:lvl2pPr marL="10477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•"/>
                  <a:defRPr lang="en-US" sz="1200" b="1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2pPr>
                <a:lvl3pPr marL="228600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3pPr>
                <a:lvl4pPr marL="35242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◦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4pPr>
                <a:lvl5pPr marL="476250" indent="-104775" algn="l" defTabSz="598488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5pPr>
                <a:lvl6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Backend services and APIs</a:t>
                </a:r>
              </a:p>
            </p:txBody>
          </p:sp>
          <p:sp>
            <p:nvSpPr>
              <p:cNvPr id="20" name="Text Placeholder 5">
                <a:extLst>
                  <a:ext uri="{FF2B5EF4-FFF2-40B4-BE49-F238E27FC236}">
                    <a16:creationId xmlns:a16="http://schemas.microsoft.com/office/drawing/2014/main" id="{51156249-23D8-6FC6-2BFA-40AAF87C7114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8803996" y="3127243"/>
                <a:ext cx="2686671" cy="4112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685800" rtl="0" eaLnBrk="1" fontAlgn="base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None/>
                  <a:defRPr sz="1800" b="0" kern="1200">
                    <a:solidFill>
                      <a:schemeClr val="tx2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1pPr>
                <a:lvl2pPr marL="10477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•"/>
                  <a:defRPr lang="en-US" sz="1200" b="1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2pPr>
                <a:lvl3pPr marL="228600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3pPr>
                <a:lvl4pPr marL="35242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◦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4pPr>
                <a:lvl5pPr marL="476250" indent="-104775" algn="l" defTabSz="598488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5pPr>
                <a:lvl6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SS styling framework</a:t>
                </a:r>
              </a:p>
            </p:txBody>
          </p:sp>
          <p:pic>
            <p:nvPicPr>
              <p:cNvPr id="22" name="Picture 8" descr="What is GitHub? — Pythia Foundations">
                <a:extLst>
                  <a:ext uri="{FF2B5EF4-FFF2-40B4-BE49-F238E27FC236}">
                    <a16:creationId xmlns:a16="http://schemas.microsoft.com/office/drawing/2014/main" id="{2D2BBAAE-1E2E-41C3-5F47-DAB7DEF7F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60722" y="3795598"/>
                <a:ext cx="2500909" cy="14067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Text Placeholder 5">
                <a:extLst>
                  <a:ext uri="{FF2B5EF4-FFF2-40B4-BE49-F238E27FC236}">
                    <a16:creationId xmlns:a16="http://schemas.microsoft.com/office/drawing/2014/main" id="{CA2106B3-27B3-CA8B-F8AB-E269BE63B1A1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2667840" y="5327079"/>
                <a:ext cx="2686671" cy="4112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685800" rtl="0" eaLnBrk="1" fontAlgn="base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None/>
                  <a:defRPr sz="1800" b="0" kern="1200">
                    <a:solidFill>
                      <a:schemeClr val="tx2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1pPr>
                <a:lvl2pPr marL="10477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•"/>
                  <a:defRPr lang="en-US" sz="1200" b="1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2pPr>
                <a:lvl3pPr marL="228600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3pPr>
                <a:lvl4pPr marL="35242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◦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4pPr>
                <a:lvl5pPr marL="476250" indent="-104775" algn="l" defTabSz="598488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5pPr>
                <a:lvl6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Version control and CI/CD pipeline</a:t>
                </a: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3A162C9C-D912-82AA-1E9B-56B8FD3268A2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323368" y="3862210"/>
                <a:ext cx="632072" cy="616310"/>
                <a:chOff x="9708660" y="4216495"/>
                <a:chExt cx="724915" cy="683195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08BE1A5-74F0-B4AA-9DD8-681F4C76E49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708660" y="4216495"/>
                  <a:ext cx="724915" cy="683195"/>
                </a:xfrm>
                <a:prstGeom prst="ellipse">
                  <a:avLst/>
                </a:prstGeom>
                <a:solidFill>
                  <a:schemeClr val="bg1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46" name="Picture 10" descr="A crash course on Docker. Ramp up on Docker in minutes via a… | by Yevgeniy  Brikman | Gruntwork">
                  <a:extLst>
                    <a:ext uri="{FF2B5EF4-FFF2-40B4-BE49-F238E27FC236}">
                      <a16:creationId xmlns:a16="http://schemas.microsoft.com/office/drawing/2014/main" id="{24D7DE7B-33A4-55FA-991D-565C3F1FF1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08940" y="4320415"/>
                  <a:ext cx="524354" cy="44832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44" name="Text Placeholder 5">
                <a:extLst>
                  <a:ext uri="{FF2B5EF4-FFF2-40B4-BE49-F238E27FC236}">
                    <a16:creationId xmlns:a16="http://schemas.microsoft.com/office/drawing/2014/main" id="{3D98EC24-4572-1B5A-8D80-6259BB932DE7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536978" y="5327079"/>
                <a:ext cx="2800353" cy="4112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685800" rtl="0" eaLnBrk="1" fontAlgn="base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buNone/>
                  <a:defRPr sz="1800" b="0" kern="1200">
                    <a:solidFill>
                      <a:schemeClr val="tx2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1pPr>
                <a:lvl2pPr marL="10477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•"/>
                  <a:defRPr lang="en-US" sz="1200" b="1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2pPr>
                <a:lvl3pPr marL="228600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3pPr>
                <a:lvl4pPr marL="352425" indent="-104775" algn="l" defTabSz="685800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◦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4pPr>
                <a:lvl5pPr marL="476250" indent="-104775" algn="l" defTabSz="598488" rtl="0" eaLnBrk="1" fontAlgn="base" hangingPunct="1">
                  <a:spcBef>
                    <a:spcPct val="0"/>
                  </a:spcBef>
                  <a:spcAft>
                    <a:spcPts val="750"/>
                  </a:spcAft>
                  <a:buSzPct val="100000"/>
                  <a:buFont typeface="Arial" panose="020B0604020202020204" pitchFamily="34" charset="0"/>
                  <a:buChar char="−"/>
                  <a:defRPr lang="en-US" sz="1200" kern="1200" dirty="0">
                    <a:solidFill>
                      <a:schemeClr val="tx1"/>
                    </a:solidFill>
                    <a:latin typeface="Open Sans" panose="020B0606030504020204" pitchFamily="34" charset="0"/>
                    <a:ea typeface="+mn-ea"/>
                    <a:cs typeface="Calibri Light" panose="020F0302020204030204" pitchFamily="34" charset="0"/>
                  </a:defRPr>
                </a:lvl5pPr>
                <a:lvl6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9600" indent="-132300" algn="l" defTabSz="685800" rtl="0" eaLnBrk="1" latinLnBrk="0" hangingPunct="1">
                  <a:spcBef>
                    <a:spcPts val="0"/>
                  </a:spcBef>
                  <a:spcAft>
                    <a:spcPts val="750"/>
                  </a:spcAft>
                  <a:buFont typeface="Verdana" panose="020B0604030504040204" pitchFamily="34" charset="0"/>
                  <a:buChar char="−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ontainerization and standardized  deployment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3E75C64-3B87-F801-CBA5-C7551FB36D10}"/>
                </a:ext>
              </a:extLst>
            </p:cNvPr>
            <p:cNvGrpSpPr/>
            <p:nvPr/>
          </p:nvGrpSpPr>
          <p:grpSpPr>
            <a:xfrm>
              <a:off x="10479570" y="1911631"/>
              <a:ext cx="928690" cy="616310"/>
              <a:chOff x="7530468" y="1813456"/>
              <a:chExt cx="928690" cy="616310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1A613C12-71C5-A2AF-5A65-1944EABFBD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91296" y="1813456"/>
                <a:ext cx="632072" cy="616310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3F6375EF-9E02-47E3-8E18-ECE53D79EE00}"/>
                  </a:ext>
                </a:extLst>
              </p:cNvPr>
              <p:cNvGrpSpPr/>
              <p:nvPr/>
            </p:nvGrpSpPr>
            <p:grpSpPr>
              <a:xfrm>
                <a:off x="7530468" y="1877565"/>
                <a:ext cx="928690" cy="453046"/>
                <a:chOff x="7491952" y="2701351"/>
                <a:chExt cx="984337" cy="486884"/>
              </a:xfrm>
            </p:grpSpPr>
            <p:pic>
              <p:nvPicPr>
                <p:cNvPr id="47" name="Picture 2" descr="shadcn/ui Logo PNG Vector - Download Free Resource">
                  <a:extLst>
                    <a:ext uri="{FF2B5EF4-FFF2-40B4-BE49-F238E27FC236}">
                      <a16:creationId xmlns:a16="http://schemas.microsoft.com/office/drawing/2014/main" id="{31474248-C48C-D620-9957-77633B65BB6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26476" y="2701351"/>
                  <a:ext cx="315288" cy="31528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040300F1-5B31-CC09-8AA1-9C1B8FBB0104}"/>
                    </a:ext>
                  </a:extLst>
                </p:cNvPr>
                <p:cNvSpPr txBox="1"/>
                <p:nvPr/>
              </p:nvSpPr>
              <p:spPr>
                <a:xfrm>
                  <a:off x="7491952" y="3034347"/>
                  <a:ext cx="984337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  <a:buSzPct val="100000"/>
                  </a:pPr>
                  <a:r>
                    <a:rPr lang="en-US" sz="1000" b="1">
                      <a:solidFill>
                        <a:srgbClr val="313131"/>
                      </a:solidFill>
                    </a:rPr>
                    <a:t>Shadc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9318732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48BE0-1D77-6E8C-0DD8-76E8558CE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B86CE-8FF3-8737-C8E0-31CCC3896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eature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14056E-61F6-9118-72C3-7FF2301004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3000"/>
              <a:t>Glimpse of main functions</a:t>
            </a:r>
          </a:p>
        </p:txBody>
      </p:sp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EDA56FC1-0EB8-0392-B170-C844AB9BADC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5" b="55"/>
          <a:stretch/>
        </p:blipFill>
        <p:spPr>
          <a:xfrm>
            <a:off x="5962168" y="209117"/>
            <a:ext cx="6229832" cy="6223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865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4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023_16x9_OnScreen_PPT" id="{38E2A9BF-9F58-1843-A976-FB2821E0561F}" vid="{14C94753-C9F3-8F4B-A541-E66061F0A7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32f7652-0a2d-47c4-becb-1435529fe5c0" xsi:nil="true"/>
    <lcf76f155ced4ddcb4097134ff3c332f xmlns="32fcc161-9793-44e7-acad-f0372343b0a6">
      <Terms xmlns="http://schemas.microsoft.com/office/infopath/2007/PartnerControls"/>
    </lcf76f155ced4ddcb4097134ff3c332f>
    <SharedWithUsers xmlns="032f7652-0a2d-47c4-becb-1435529fe5c0">
      <UserInfo>
        <DisplayName>Duffield, Leon</DisplayName>
        <AccountId>19</AccountId>
        <AccountType/>
      </UserInfo>
      <UserInfo>
        <DisplayName>Naidu, Aruna</DisplayName>
        <AccountId>37</AccountId>
        <AccountType/>
      </UserInfo>
      <UserInfo>
        <DisplayName>Jones, Thomas</DisplayName>
        <AccountId>38</AccountId>
        <AccountType/>
      </UserInfo>
      <UserInfo>
        <DisplayName>Sreegiriraju, Nikhil</DisplayName>
        <AccountId>22</AccountId>
        <AccountType/>
      </UserInfo>
      <UserInfo>
        <DisplayName>Shaw, Shradha</DisplayName>
        <AccountId>23</AccountId>
        <AccountType/>
      </UserInfo>
      <UserInfo>
        <DisplayName>Melody, Colin</DisplayName>
        <AccountId>24</AccountId>
        <AccountType/>
      </UserInfo>
      <UserInfo>
        <DisplayName>Singh, Suryansh</DisplayName>
        <AccountId>17</AccountId>
        <AccountType/>
      </UserInfo>
      <UserInfo>
        <DisplayName>Creighton, Nigel</DisplayName>
        <AccountId>27</AccountId>
        <AccountType/>
      </UserInfo>
      <UserInfo>
        <DisplayName>Finucane, Camille</DisplayName>
        <AccountId>13</AccountId>
        <AccountType/>
      </UserInfo>
      <UserInfo>
        <DisplayName>Bhanja, Jagrat Kumar</DisplayName>
        <AccountId>11</AccountId>
        <AccountType/>
      </UserInfo>
      <UserInfo>
        <DisplayName>Modak, Saheli</DisplayName>
        <AccountId>44</AccountId>
        <AccountType/>
      </UserInfo>
      <UserInfo>
        <DisplayName>Palanivel Abirami, Nithiya</DisplayName>
        <AccountId>47</AccountId>
        <AccountType/>
      </UserInfo>
    </SharedWithUsers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spe:Receivers xmlns:spe="http://schemas.microsoft.com/sharepoint/events">
  <Receiver xmlns="">
    <Name>Document ID Generator</Name>
    <Synchronization>Synchronous</Synchronization>
    <Type>10001</Type>
    <SequenceNumber>1000</SequenceNumber>
    <Assembly>Microsoft.Office.DocumentManagement, Version=16.0.0.0, Culture=neutral, PublicKeyToken=71e9bce111e9429c</Assembly>
    <Class>Microsoft.Office.DocumentManagement.Internal.DocIdHandler</Class>
    <Data/>
    <Filter/>
  </Receiver>
  <Receiver xmlns="">
    <Name>Document ID Generator</Name>
    <Synchronization>Synchronous</Synchronization>
    <Type>10002</Type>
    <SequenceNumber>1001</SequenceNumber>
    <Assembly>Microsoft.Office.DocumentManagement, Version=16.0.0.0, Culture=neutral, PublicKeyToken=71e9bce111e9429c</Assembly>
    <Class>Microsoft.Office.DocumentManagement.Internal.DocIdHandler</Class>
    <Data/>
    <Filter/>
  </Receiver>
  <Receiver xmlns="">
    <Name>Document ID Generator</Name>
    <Synchronization>Synchronous</Synchronization>
    <Type>10004</Type>
    <SequenceNumber>1002</SequenceNumber>
    <Assembly>Microsoft.Office.DocumentManagement, Version=16.0.0.0, Culture=neutral, PublicKeyToken=71e9bce111e9429c</Assembly>
    <Class>Microsoft.Office.DocumentManagement.Internal.DocIdHandler</Class>
    <Data/>
    <Filter/>
  </Receiver>
  <Receiver xmlns="">
    <Name>Document ID Generator</Name>
    <Synchronization>Synchronous</Synchronization>
    <Type>10006</Type>
    <SequenceNumber>1003</SequenceNumber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8C610B0EF59D48901D4607C662BE95" ma:contentTypeVersion="15" ma:contentTypeDescription="Create a new document." ma:contentTypeScope="" ma:versionID="17cacbb1d49ee6e16e19f1b447073351">
  <xsd:schema xmlns:xsd="http://www.w3.org/2001/XMLSchema" xmlns:xs="http://www.w3.org/2001/XMLSchema" xmlns:p="http://schemas.microsoft.com/office/2006/metadata/properties" xmlns:ns1="http://schemas.microsoft.com/sharepoint/v3" xmlns:ns2="7676da56-1cbb-4d0d-9680-a35fc2a9d519" xmlns:ns3="32fcc161-9793-44e7-acad-f0372343b0a6" xmlns:ns4="032f7652-0a2d-47c4-becb-1435529fe5c0" targetNamespace="http://schemas.microsoft.com/office/2006/metadata/properties" ma:root="true" ma:fieldsID="5adef4f9a46640a5331f534bf9ab5c0f" ns1:_="" ns2:_="" ns3:_="" ns4:_="">
    <xsd:import namespace="http://schemas.microsoft.com/sharepoint/v3"/>
    <xsd:import namespace="7676da56-1cbb-4d0d-9680-a35fc2a9d519"/>
    <xsd:import namespace="32fcc161-9793-44e7-acad-f0372343b0a6"/>
    <xsd:import namespace="032f7652-0a2d-47c4-becb-1435529fe5c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3:lcf76f155ced4ddcb4097134ff3c332f" minOccurs="0"/>
                <xsd:element ref="ns4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2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76da56-1cbb-4d0d-9680-a35fc2a9d51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fcc161-9793-44e7-acad-f0372343b0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f7652-0a2d-47c4-becb-1435529fe5c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48f2adca-fb2a-4618-a8f2-8f71390f8c08}" ma:internalName="TaxCatchAll" ma:showField="CatchAllData" ma:web="032f7652-0a2d-47c4-becb-1435529fe5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1B0BFA-154F-4FE6-8C46-2B0CF6A6EC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EE0193-3346-4FA1-A6C3-2BE7C7DE3BC4}">
  <ds:schemaRefs>
    <ds:schemaRef ds:uri="http://purl.org/dc/elements/1.1/"/>
    <ds:schemaRef ds:uri="http://purl.org/dc/terms/"/>
    <ds:schemaRef ds:uri="9e007f39-6a97-4f32-822f-99ad072b8d33"/>
    <ds:schemaRef ds:uri="33a5c020-ef02-4a32-976d-53b23e41687c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032f7652-0a2d-47c4-becb-1435529fe5c0"/>
    <ds:schemaRef ds:uri="32fcc161-9793-44e7-acad-f0372343b0a6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827B4FDA-A840-4C2D-BFBB-5B7EC8BD3FDB}">
  <ds:schemaRefs>
    <ds:schemaRef ds:uri="http://schemas.microsoft.com/sharepoint/events"/>
    <ds:schemaRef ds:uri=""/>
  </ds:schemaRefs>
</ds:datastoreItem>
</file>

<file path=customXml/itemProps4.xml><?xml version="1.0" encoding="utf-8"?>
<ds:datastoreItem xmlns:ds="http://schemas.openxmlformats.org/officeDocument/2006/customXml" ds:itemID="{5906057B-AE4A-4A3A-991E-2E896C395C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676da56-1cbb-4d0d-9680-a35fc2a9d519"/>
    <ds:schemaRef ds:uri="32fcc161-9793-44e7-acad-f0372343b0a6"/>
    <ds:schemaRef ds:uri="032f7652-0a2d-47c4-becb-1435529fe5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4</TotalTime>
  <Words>589</Words>
  <Application>Microsoft Office PowerPoint</Application>
  <PresentationFormat>Widescreen</PresentationFormat>
  <Paragraphs>118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Calibri Light</vt:lpstr>
      <vt:lpstr>Open Sans</vt:lpstr>
      <vt:lpstr>Verdana</vt:lpstr>
      <vt:lpstr>Wingdings 2</vt:lpstr>
      <vt:lpstr>Deloitte Brand Theme</vt:lpstr>
      <vt:lpstr>think-cell Slide</vt:lpstr>
      <vt:lpstr>Deloitte Internship  Progress Update</vt:lpstr>
      <vt:lpstr>PowerPoint Presentation</vt:lpstr>
      <vt:lpstr>PowerPoint Presentation</vt:lpstr>
      <vt:lpstr>PowerPoint Presentation</vt:lpstr>
      <vt:lpstr>PowerPoint Presentation</vt:lpstr>
      <vt:lpstr>Dexter Ticketing Support System</vt:lpstr>
      <vt:lpstr>Features</vt:lpstr>
      <vt:lpstr>Technology</vt:lpstr>
      <vt:lpstr>Feature Overview</vt:lpstr>
      <vt:lpstr>User Side</vt:lpstr>
      <vt:lpstr>User Side</vt:lpstr>
      <vt:lpstr>User Side</vt:lpstr>
      <vt:lpstr>User Side</vt:lpstr>
      <vt:lpstr>User Side</vt:lpstr>
      <vt:lpstr>Architecture</vt:lpstr>
      <vt:lpstr>Architecture Diagram</vt:lpstr>
      <vt:lpstr>Storage Schema</vt:lpstr>
      <vt:lpstr>Thank You For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 heading in Calibri  Light green</dc:title>
  <dc:creator>Lewis, Roisin</dc:creator>
  <cp:lastModifiedBy>Samsawi, Nur Syazwani</cp:lastModifiedBy>
  <cp:revision>3</cp:revision>
  <cp:lastPrinted>2023-06-26T06:54:54Z</cp:lastPrinted>
  <dcterms:created xsi:type="dcterms:W3CDTF">2023-04-21T13:18:55Z</dcterms:created>
  <dcterms:modified xsi:type="dcterms:W3CDTF">2024-12-17T00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4-30T22:39:5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db8dcbfc-9da1-4960-b70d-4d360a6d5a6c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C8C610B0EF59D48901D4607C662BE95</vt:lpwstr>
  </property>
  <property fmtid="{D5CDD505-2E9C-101B-9397-08002B2CF9AE}" pid="10" name="MediaServiceImageTags">
    <vt:lpwstr/>
  </property>
</Properties>
</file>